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1.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4"/>
  </p:notesMasterIdLst>
  <p:sldIdLst>
    <p:sldId id="5055" r:id="rId2"/>
    <p:sldId id="5072" r:id="rId3"/>
    <p:sldId id="5057" r:id="rId4"/>
    <p:sldId id="5075" r:id="rId5"/>
    <p:sldId id="5073" r:id="rId6"/>
    <p:sldId id="5074" r:id="rId7"/>
    <p:sldId id="5058" r:id="rId8"/>
    <p:sldId id="5076" r:id="rId9"/>
    <p:sldId id="5062" r:id="rId10"/>
    <p:sldId id="5070" r:id="rId11"/>
    <p:sldId id="5071" r:id="rId12"/>
    <p:sldId id="506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72"/>
            <p14:sldId id="5057"/>
            <p14:sldId id="5075"/>
            <p14:sldId id="5073"/>
            <p14:sldId id="5074"/>
            <p14:sldId id="5058"/>
            <p14:sldId id="5076"/>
            <p14:sldId id="5062"/>
            <p14:sldId id="5070"/>
            <p14:sldId id="5071"/>
            <p14:sldId id="50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7"/>
    <p:restoredTop sz="94669"/>
  </p:normalViewPr>
  <p:slideViewPr>
    <p:cSldViewPr snapToGrid="0">
      <p:cViewPr varScale="1">
        <p:scale>
          <a:sx n="81" d="100"/>
          <a:sy n="81" d="100"/>
        </p:scale>
        <p:origin x="725"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8222F-5471-48E1-A8ED-4BEE80065BB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3BFB40F8-CC3E-4BAC-9BE6-0A53D71640E0}">
      <dgm:prSet phldrT="[Text]"/>
      <dgm:spPr/>
      <dgm:t>
        <a:bodyPr/>
        <a:lstStyle/>
        <a:p>
          <a:r>
            <a:rPr lang="en-US" b="1" dirty="0"/>
            <a:t>Data Exploration</a:t>
          </a:r>
          <a:endParaRPr lang="en-IN" b="1" dirty="0"/>
        </a:p>
      </dgm:t>
    </dgm:pt>
    <dgm:pt modelId="{AB08CF31-47BB-4C81-9D8F-6C604982CF0F}" type="parTrans" cxnId="{DD77812D-0C4F-416F-8B78-E462FB597ECF}">
      <dgm:prSet/>
      <dgm:spPr/>
      <dgm:t>
        <a:bodyPr/>
        <a:lstStyle/>
        <a:p>
          <a:endParaRPr lang="en-IN"/>
        </a:p>
      </dgm:t>
    </dgm:pt>
    <dgm:pt modelId="{CC3FC16F-6B41-451B-90D1-87B1E024D596}" type="sibTrans" cxnId="{DD77812D-0C4F-416F-8B78-E462FB597ECF}">
      <dgm:prSet/>
      <dgm:spPr/>
      <dgm:t>
        <a:bodyPr/>
        <a:lstStyle/>
        <a:p>
          <a:endParaRPr lang="en-IN"/>
        </a:p>
      </dgm:t>
    </dgm:pt>
    <dgm:pt modelId="{48587C43-9B5A-41D3-8F12-EAB464411FB3}">
      <dgm:prSet phldrT="[Text]"/>
      <dgm:spPr/>
      <dgm:t>
        <a:bodyPr/>
        <a:lstStyle/>
        <a:p>
          <a:pPr algn="just"/>
          <a:r>
            <a:rPr lang="en-US" dirty="0"/>
            <a:t>Examined the first few rows, summary statistics, and data types.</a:t>
          </a:r>
          <a:endParaRPr lang="en-IN" dirty="0"/>
        </a:p>
      </dgm:t>
    </dgm:pt>
    <dgm:pt modelId="{90DFEFA0-9FDE-425B-8019-6E5983CA5443}" type="parTrans" cxnId="{2131D038-4E0D-461B-A57F-A853EC5374A1}">
      <dgm:prSet/>
      <dgm:spPr/>
      <dgm:t>
        <a:bodyPr/>
        <a:lstStyle/>
        <a:p>
          <a:endParaRPr lang="en-IN"/>
        </a:p>
      </dgm:t>
    </dgm:pt>
    <dgm:pt modelId="{4667FDF2-801F-4478-BF31-AA6BC1A8461F}" type="sibTrans" cxnId="{2131D038-4E0D-461B-A57F-A853EC5374A1}">
      <dgm:prSet/>
      <dgm:spPr/>
      <dgm:t>
        <a:bodyPr/>
        <a:lstStyle/>
        <a:p>
          <a:endParaRPr lang="en-IN"/>
        </a:p>
      </dgm:t>
    </dgm:pt>
    <dgm:pt modelId="{C7B87F86-D58C-4C58-8D46-8E2BAF145C7D}">
      <dgm:prSet phldrT="[Text]"/>
      <dgm:spPr/>
      <dgm:t>
        <a:bodyPr/>
        <a:lstStyle/>
        <a:p>
          <a:pPr algn="just"/>
          <a:r>
            <a:rPr lang="en-US" dirty="0"/>
            <a:t>Checked for missing values</a:t>
          </a:r>
          <a:endParaRPr lang="en-IN" dirty="0"/>
        </a:p>
      </dgm:t>
    </dgm:pt>
    <dgm:pt modelId="{05EF4014-81F5-4BB3-984F-53A42703A30C}" type="parTrans" cxnId="{15360C4B-F8B7-495C-ABDB-A9B98700A102}">
      <dgm:prSet/>
      <dgm:spPr/>
      <dgm:t>
        <a:bodyPr/>
        <a:lstStyle/>
        <a:p>
          <a:endParaRPr lang="en-IN"/>
        </a:p>
      </dgm:t>
    </dgm:pt>
    <dgm:pt modelId="{C3E486DB-0F69-472A-8140-9B972202075B}" type="sibTrans" cxnId="{15360C4B-F8B7-495C-ABDB-A9B98700A102}">
      <dgm:prSet/>
      <dgm:spPr/>
      <dgm:t>
        <a:bodyPr/>
        <a:lstStyle/>
        <a:p>
          <a:endParaRPr lang="en-IN"/>
        </a:p>
      </dgm:t>
    </dgm:pt>
    <dgm:pt modelId="{F21AC287-B14D-40E4-9075-4B8D723F317E}">
      <dgm:prSet phldrT="[Text]"/>
      <dgm:spPr/>
      <dgm:t>
        <a:bodyPr/>
        <a:lstStyle/>
        <a:p>
          <a:r>
            <a:rPr lang="en-US" b="1" dirty="0"/>
            <a:t>Data Pre-Processing</a:t>
          </a:r>
          <a:endParaRPr lang="en-IN" b="1" dirty="0"/>
        </a:p>
      </dgm:t>
    </dgm:pt>
    <dgm:pt modelId="{F5CE41E9-390D-4F07-BA78-511A8E062820}" type="parTrans" cxnId="{83E89A60-84AF-4524-8614-EEC2614006FC}">
      <dgm:prSet/>
      <dgm:spPr/>
      <dgm:t>
        <a:bodyPr/>
        <a:lstStyle/>
        <a:p>
          <a:endParaRPr lang="en-IN"/>
        </a:p>
      </dgm:t>
    </dgm:pt>
    <dgm:pt modelId="{F47E2A06-6D2C-4496-A790-12A3A2D4D38C}" type="sibTrans" cxnId="{83E89A60-84AF-4524-8614-EEC2614006FC}">
      <dgm:prSet/>
      <dgm:spPr/>
      <dgm:t>
        <a:bodyPr/>
        <a:lstStyle/>
        <a:p>
          <a:endParaRPr lang="en-IN"/>
        </a:p>
      </dgm:t>
    </dgm:pt>
    <dgm:pt modelId="{3EC044E6-0429-4024-A261-0F4E0EF1BCCA}">
      <dgm:prSet phldrT="[Text]"/>
      <dgm:spPr/>
      <dgm:t>
        <a:bodyPr/>
        <a:lstStyle/>
        <a:p>
          <a:r>
            <a:rPr lang="en-US" dirty="0"/>
            <a:t>Applied </a:t>
          </a:r>
          <a:r>
            <a:rPr lang="en-US" b="1" dirty="0" err="1"/>
            <a:t>StandardScale</a:t>
          </a:r>
          <a:r>
            <a:rPr lang="en-US" dirty="0" err="1"/>
            <a:t>r</a:t>
          </a:r>
          <a:r>
            <a:rPr lang="en-US" dirty="0"/>
            <a:t> to numerical features and </a:t>
          </a:r>
          <a:r>
            <a:rPr lang="en-US" b="1" dirty="0" err="1"/>
            <a:t>OneHotEncoder</a:t>
          </a:r>
          <a:r>
            <a:rPr lang="en-US" dirty="0"/>
            <a:t> to categorical features to standardize and encode the data.</a:t>
          </a:r>
          <a:endParaRPr lang="en-IN" dirty="0"/>
        </a:p>
      </dgm:t>
    </dgm:pt>
    <dgm:pt modelId="{25B9787E-A867-4241-B0D6-4B52CA557E0E}" type="parTrans" cxnId="{33E48EE6-4F89-4E2C-A654-ED63DA13E0B6}">
      <dgm:prSet/>
      <dgm:spPr/>
      <dgm:t>
        <a:bodyPr/>
        <a:lstStyle/>
        <a:p>
          <a:endParaRPr lang="en-IN"/>
        </a:p>
      </dgm:t>
    </dgm:pt>
    <dgm:pt modelId="{0B26743C-C1B7-4529-9FC6-C916BFD07112}" type="sibTrans" cxnId="{33E48EE6-4F89-4E2C-A654-ED63DA13E0B6}">
      <dgm:prSet/>
      <dgm:spPr/>
      <dgm:t>
        <a:bodyPr/>
        <a:lstStyle/>
        <a:p>
          <a:endParaRPr lang="en-IN"/>
        </a:p>
      </dgm:t>
    </dgm:pt>
    <dgm:pt modelId="{598D63F3-C39E-460B-939F-5C1F8A3F4D42}">
      <dgm:prSet phldrT="[Text]"/>
      <dgm:spPr/>
      <dgm:t>
        <a:bodyPr/>
        <a:lstStyle/>
        <a:p>
          <a:pPr algn="just"/>
          <a:r>
            <a:rPr lang="en-US" dirty="0"/>
            <a:t>Analyzed distributions of key variables, such as </a:t>
          </a:r>
          <a:r>
            <a:rPr lang="en-US" dirty="0" err="1"/>
            <a:t>DeviceType</a:t>
          </a:r>
          <a:r>
            <a:rPr lang="en-US" dirty="0"/>
            <a:t> and </a:t>
          </a:r>
          <a:r>
            <a:rPr lang="en-US" dirty="0" err="1"/>
            <a:t>UsageHoursPerDay</a:t>
          </a:r>
          <a:r>
            <a:rPr lang="en-US" dirty="0"/>
            <a:t>.</a:t>
          </a:r>
          <a:endParaRPr lang="en-IN" dirty="0"/>
        </a:p>
      </dgm:t>
    </dgm:pt>
    <dgm:pt modelId="{E41F5B08-39F8-4B8D-A003-428EAB69D2AB}" type="parTrans" cxnId="{B1F69EFC-61BF-411E-AA4B-56DDECC0B4A2}">
      <dgm:prSet/>
      <dgm:spPr/>
      <dgm:t>
        <a:bodyPr/>
        <a:lstStyle/>
        <a:p>
          <a:endParaRPr lang="en-IN"/>
        </a:p>
      </dgm:t>
    </dgm:pt>
    <dgm:pt modelId="{602971A7-6942-478A-8F02-79057D0DBD38}" type="sibTrans" cxnId="{B1F69EFC-61BF-411E-AA4B-56DDECC0B4A2}">
      <dgm:prSet/>
      <dgm:spPr/>
      <dgm:t>
        <a:bodyPr/>
        <a:lstStyle/>
        <a:p>
          <a:endParaRPr lang="en-IN"/>
        </a:p>
      </dgm:t>
    </dgm:pt>
    <dgm:pt modelId="{10299688-FBF7-4D90-B3BA-64A79BE1149C}">
      <dgm:prSet/>
      <dgm:spPr/>
      <dgm:t>
        <a:bodyPr/>
        <a:lstStyle/>
        <a:p>
          <a:r>
            <a:rPr lang="en-IN" b="1" dirty="0"/>
            <a:t>Data Cleaning</a:t>
          </a:r>
        </a:p>
      </dgm:t>
    </dgm:pt>
    <dgm:pt modelId="{7A7A8756-5AA4-43A3-85D7-6B9E47C40002}" type="parTrans" cxnId="{219BA07F-24DC-460E-ADF8-85A092258B1D}">
      <dgm:prSet/>
      <dgm:spPr/>
      <dgm:t>
        <a:bodyPr/>
        <a:lstStyle/>
        <a:p>
          <a:endParaRPr lang="en-IN"/>
        </a:p>
      </dgm:t>
    </dgm:pt>
    <dgm:pt modelId="{1089DE88-B61C-4887-B653-99ABA1AC4EE6}" type="sibTrans" cxnId="{219BA07F-24DC-460E-ADF8-85A092258B1D}">
      <dgm:prSet/>
      <dgm:spPr/>
      <dgm:t>
        <a:bodyPr/>
        <a:lstStyle/>
        <a:p>
          <a:endParaRPr lang="en-IN"/>
        </a:p>
      </dgm:t>
    </dgm:pt>
    <dgm:pt modelId="{F1824065-013D-45F3-A555-A3E8F985DB02}">
      <dgm:prSet/>
      <dgm:spPr/>
      <dgm:t>
        <a:bodyPr/>
        <a:lstStyle/>
        <a:p>
          <a:endParaRPr lang="en-IN" dirty="0"/>
        </a:p>
      </dgm:t>
    </dgm:pt>
    <dgm:pt modelId="{70AA5D33-6401-48B6-8E04-A8D722142338}" type="parTrans" cxnId="{A5935D9D-FC7D-495F-9BCC-9F510EC27193}">
      <dgm:prSet/>
      <dgm:spPr/>
      <dgm:t>
        <a:bodyPr/>
        <a:lstStyle/>
        <a:p>
          <a:endParaRPr lang="en-IN"/>
        </a:p>
      </dgm:t>
    </dgm:pt>
    <dgm:pt modelId="{046619B2-0FB8-4605-A66B-A30DC10CB772}" type="sibTrans" cxnId="{A5935D9D-FC7D-495F-9BCC-9F510EC27193}">
      <dgm:prSet/>
      <dgm:spPr/>
      <dgm:t>
        <a:bodyPr/>
        <a:lstStyle/>
        <a:p>
          <a:endParaRPr lang="en-IN"/>
        </a:p>
      </dgm:t>
    </dgm:pt>
    <dgm:pt modelId="{EB7455B6-3BB5-4D99-9995-8C91D8A1A557}">
      <dgm:prSet/>
      <dgm:spPr/>
      <dgm:t>
        <a:bodyPr/>
        <a:lstStyle/>
        <a:p>
          <a:r>
            <a:rPr lang="en-IN" dirty="0"/>
            <a:t>Dropped irrelevant columns like user id .</a:t>
          </a:r>
        </a:p>
      </dgm:t>
    </dgm:pt>
    <dgm:pt modelId="{1D4E5062-4051-4697-A91A-FB32C4B60AA8}" type="parTrans" cxnId="{E5E9DE47-947B-4BFF-A329-7A9F6763EC1F}">
      <dgm:prSet/>
      <dgm:spPr/>
      <dgm:t>
        <a:bodyPr/>
        <a:lstStyle/>
        <a:p>
          <a:endParaRPr lang="en-IN"/>
        </a:p>
      </dgm:t>
    </dgm:pt>
    <dgm:pt modelId="{3EE3049B-2C81-4A2D-8236-40FB3005B748}" type="sibTrans" cxnId="{E5E9DE47-947B-4BFF-A329-7A9F6763EC1F}">
      <dgm:prSet/>
      <dgm:spPr/>
      <dgm:t>
        <a:bodyPr/>
        <a:lstStyle/>
        <a:p>
          <a:endParaRPr lang="en-IN"/>
        </a:p>
      </dgm:t>
    </dgm:pt>
    <dgm:pt modelId="{5AF1EA22-CBB9-49A0-A645-37831B0D191E}" type="pres">
      <dgm:prSet presAssocID="{0DF8222F-5471-48E1-A8ED-4BEE80065BBB}" presName="Name0" presStyleCnt="0">
        <dgm:presLayoutVars>
          <dgm:dir/>
          <dgm:animLvl val="lvl"/>
          <dgm:resizeHandles val="exact"/>
        </dgm:presLayoutVars>
      </dgm:prSet>
      <dgm:spPr/>
    </dgm:pt>
    <dgm:pt modelId="{1CD740EE-F08B-487B-8E4F-CDFF216E5D1C}" type="pres">
      <dgm:prSet presAssocID="{3BFB40F8-CC3E-4BAC-9BE6-0A53D71640E0}" presName="composite" presStyleCnt="0"/>
      <dgm:spPr/>
    </dgm:pt>
    <dgm:pt modelId="{DA91D6A1-11CD-4068-8BD4-E1A732D1952B}" type="pres">
      <dgm:prSet presAssocID="{3BFB40F8-CC3E-4BAC-9BE6-0A53D71640E0}" presName="parTx" presStyleLbl="alignNode1" presStyleIdx="0" presStyleCnt="3" custScaleX="115137">
        <dgm:presLayoutVars>
          <dgm:chMax val="0"/>
          <dgm:chPref val="0"/>
          <dgm:bulletEnabled val="1"/>
        </dgm:presLayoutVars>
      </dgm:prSet>
      <dgm:spPr/>
    </dgm:pt>
    <dgm:pt modelId="{3D223AFC-2EBA-4DEA-ACF0-22C0C72A64BE}" type="pres">
      <dgm:prSet presAssocID="{3BFB40F8-CC3E-4BAC-9BE6-0A53D71640E0}" presName="desTx" presStyleLbl="alignAccFollowNode1" presStyleIdx="0" presStyleCnt="3" custScaleX="115461">
        <dgm:presLayoutVars>
          <dgm:bulletEnabled val="1"/>
        </dgm:presLayoutVars>
      </dgm:prSet>
      <dgm:spPr/>
    </dgm:pt>
    <dgm:pt modelId="{E9B334E7-34FE-4423-92F6-77BEAAFFD972}" type="pres">
      <dgm:prSet presAssocID="{CC3FC16F-6B41-451B-90D1-87B1E024D596}" presName="space" presStyleCnt="0"/>
      <dgm:spPr/>
    </dgm:pt>
    <dgm:pt modelId="{C97497E2-5722-448A-887D-DE68EA017E09}" type="pres">
      <dgm:prSet presAssocID="{10299688-FBF7-4D90-B3BA-64A79BE1149C}" presName="composite" presStyleCnt="0"/>
      <dgm:spPr/>
    </dgm:pt>
    <dgm:pt modelId="{67B19E24-B723-48DC-B640-43429A84723C}" type="pres">
      <dgm:prSet presAssocID="{10299688-FBF7-4D90-B3BA-64A79BE1149C}" presName="parTx" presStyleLbl="alignNode1" presStyleIdx="1" presStyleCnt="3">
        <dgm:presLayoutVars>
          <dgm:chMax val="0"/>
          <dgm:chPref val="0"/>
          <dgm:bulletEnabled val="1"/>
        </dgm:presLayoutVars>
      </dgm:prSet>
      <dgm:spPr/>
    </dgm:pt>
    <dgm:pt modelId="{211938FD-4188-47A2-83FD-586905BDCD5B}" type="pres">
      <dgm:prSet presAssocID="{10299688-FBF7-4D90-B3BA-64A79BE1149C}" presName="desTx" presStyleLbl="alignAccFollowNode1" presStyleIdx="1" presStyleCnt="3">
        <dgm:presLayoutVars>
          <dgm:bulletEnabled val="1"/>
        </dgm:presLayoutVars>
      </dgm:prSet>
      <dgm:spPr/>
    </dgm:pt>
    <dgm:pt modelId="{EB6ADDB6-E60D-49F0-8CE7-BE6F50C10A06}" type="pres">
      <dgm:prSet presAssocID="{1089DE88-B61C-4887-B653-99ABA1AC4EE6}" presName="space" presStyleCnt="0"/>
      <dgm:spPr/>
    </dgm:pt>
    <dgm:pt modelId="{CCDDA48A-CF49-4E63-B49B-B3D8D00A49FF}" type="pres">
      <dgm:prSet presAssocID="{F21AC287-B14D-40E4-9075-4B8D723F317E}" presName="composite" presStyleCnt="0"/>
      <dgm:spPr/>
    </dgm:pt>
    <dgm:pt modelId="{3615B173-DC68-4815-91EB-4D908F351DB7}" type="pres">
      <dgm:prSet presAssocID="{F21AC287-B14D-40E4-9075-4B8D723F317E}" presName="parTx" presStyleLbl="alignNode1" presStyleIdx="2" presStyleCnt="3">
        <dgm:presLayoutVars>
          <dgm:chMax val="0"/>
          <dgm:chPref val="0"/>
          <dgm:bulletEnabled val="1"/>
        </dgm:presLayoutVars>
      </dgm:prSet>
      <dgm:spPr/>
    </dgm:pt>
    <dgm:pt modelId="{93DD3026-4235-43A6-A006-754051FE3B63}" type="pres">
      <dgm:prSet presAssocID="{F21AC287-B14D-40E4-9075-4B8D723F317E}" presName="desTx" presStyleLbl="alignAccFollowNode1" presStyleIdx="2" presStyleCnt="3">
        <dgm:presLayoutVars>
          <dgm:bulletEnabled val="1"/>
        </dgm:presLayoutVars>
      </dgm:prSet>
      <dgm:spPr/>
    </dgm:pt>
  </dgm:ptLst>
  <dgm:cxnLst>
    <dgm:cxn modelId="{DD77812D-0C4F-416F-8B78-E462FB597ECF}" srcId="{0DF8222F-5471-48E1-A8ED-4BEE80065BBB}" destId="{3BFB40F8-CC3E-4BAC-9BE6-0A53D71640E0}" srcOrd="0" destOrd="0" parTransId="{AB08CF31-47BB-4C81-9D8F-6C604982CF0F}" sibTransId="{CC3FC16F-6B41-451B-90D1-87B1E024D596}"/>
    <dgm:cxn modelId="{2131D038-4E0D-461B-A57F-A853EC5374A1}" srcId="{3BFB40F8-CC3E-4BAC-9BE6-0A53D71640E0}" destId="{48587C43-9B5A-41D3-8F12-EAB464411FB3}" srcOrd="0" destOrd="0" parTransId="{90DFEFA0-9FDE-425B-8019-6E5983CA5443}" sibTransId="{4667FDF2-801F-4478-BF31-AA6BC1A8461F}"/>
    <dgm:cxn modelId="{83E89A60-84AF-4524-8614-EEC2614006FC}" srcId="{0DF8222F-5471-48E1-A8ED-4BEE80065BBB}" destId="{F21AC287-B14D-40E4-9075-4B8D723F317E}" srcOrd="2" destOrd="0" parTransId="{F5CE41E9-390D-4F07-BA78-511A8E062820}" sibTransId="{F47E2A06-6D2C-4496-A790-12A3A2D4D38C}"/>
    <dgm:cxn modelId="{E5E9DE47-947B-4BFF-A329-7A9F6763EC1F}" srcId="{10299688-FBF7-4D90-B3BA-64A79BE1149C}" destId="{EB7455B6-3BB5-4D99-9995-8C91D8A1A557}" srcOrd="0" destOrd="0" parTransId="{1D4E5062-4051-4697-A91A-FB32C4B60AA8}" sibTransId="{3EE3049B-2C81-4A2D-8236-40FB3005B748}"/>
    <dgm:cxn modelId="{F53DC66A-95DD-4692-A9E0-0B29B1D9F7D5}" type="presOf" srcId="{10299688-FBF7-4D90-B3BA-64A79BE1149C}" destId="{67B19E24-B723-48DC-B640-43429A84723C}" srcOrd="0" destOrd="0" presId="urn:microsoft.com/office/officeart/2005/8/layout/hList1"/>
    <dgm:cxn modelId="{15360C4B-F8B7-495C-ABDB-A9B98700A102}" srcId="{3BFB40F8-CC3E-4BAC-9BE6-0A53D71640E0}" destId="{C7B87F86-D58C-4C58-8D46-8E2BAF145C7D}" srcOrd="1" destOrd="0" parTransId="{05EF4014-81F5-4BB3-984F-53A42703A30C}" sibTransId="{C3E486DB-0F69-472A-8140-9B972202075B}"/>
    <dgm:cxn modelId="{B773F66D-F20E-4DCB-8CF3-9A396B3224FB}" type="presOf" srcId="{EB7455B6-3BB5-4D99-9995-8C91D8A1A557}" destId="{211938FD-4188-47A2-83FD-586905BDCD5B}" srcOrd="0" destOrd="0" presId="urn:microsoft.com/office/officeart/2005/8/layout/hList1"/>
    <dgm:cxn modelId="{299FAA78-D855-47D6-A936-F43315109A4A}" type="presOf" srcId="{F1824065-013D-45F3-A555-A3E8F985DB02}" destId="{211938FD-4188-47A2-83FD-586905BDCD5B}" srcOrd="0" destOrd="1" presId="urn:microsoft.com/office/officeart/2005/8/layout/hList1"/>
    <dgm:cxn modelId="{BC390D7F-D032-4C91-8EF4-D0273EFD6FB2}" type="presOf" srcId="{598D63F3-C39E-460B-939F-5C1F8A3F4D42}" destId="{3D223AFC-2EBA-4DEA-ACF0-22C0C72A64BE}" srcOrd="0" destOrd="2" presId="urn:microsoft.com/office/officeart/2005/8/layout/hList1"/>
    <dgm:cxn modelId="{219BA07F-24DC-460E-ADF8-85A092258B1D}" srcId="{0DF8222F-5471-48E1-A8ED-4BEE80065BBB}" destId="{10299688-FBF7-4D90-B3BA-64A79BE1149C}" srcOrd="1" destOrd="0" parTransId="{7A7A8756-5AA4-43A3-85D7-6B9E47C40002}" sibTransId="{1089DE88-B61C-4887-B653-99ABA1AC4EE6}"/>
    <dgm:cxn modelId="{A5935D9D-FC7D-495F-9BCC-9F510EC27193}" srcId="{10299688-FBF7-4D90-B3BA-64A79BE1149C}" destId="{F1824065-013D-45F3-A555-A3E8F985DB02}" srcOrd="1" destOrd="0" parTransId="{70AA5D33-6401-48B6-8E04-A8D722142338}" sibTransId="{046619B2-0FB8-4605-A66B-A30DC10CB772}"/>
    <dgm:cxn modelId="{4C2A1CAD-8F97-44AE-9C7D-AEB59CC1FC7B}" type="presOf" srcId="{0DF8222F-5471-48E1-A8ED-4BEE80065BBB}" destId="{5AF1EA22-CBB9-49A0-A645-37831B0D191E}" srcOrd="0" destOrd="0" presId="urn:microsoft.com/office/officeart/2005/8/layout/hList1"/>
    <dgm:cxn modelId="{25C79AB3-0CCF-49DD-932E-88F54D5E50B1}" type="presOf" srcId="{3BFB40F8-CC3E-4BAC-9BE6-0A53D71640E0}" destId="{DA91D6A1-11CD-4068-8BD4-E1A732D1952B}" srcOrd="0" destOrd="0" presId="urn:microsoft.com/office/officeart/2005/8/layout/hList1"/>
    <dgm:cxn modelId="{A94BB7C2-6F20-4F43-9F6D-CC1A34B3CFA6}" type="presOf" srcId="{C7B87F86-D58C-4C58-8D46-8E2BAF145C7D}" destId="{3D223AFC-2EBA-4DEA-ACF0-22C0C72A64BE}" srcOrd="0" destOrd="1" presId="urn:microsoft.com/office/officeart/2005/8/layout/hList1"/>
    <dgm:cxn modelId="{965DD5C2-A7ED-41E8-8BF3-CB538F44A2E7}" type="presOf" srcId="{3EC044E6-0429-4024-A261-0F4E0EF1BCCA}" destId="{93DD3026-4235-43A6-A006-754051FE3B63}" srcOrd="0" destOrd="0" presId="urn:microsoft.com/office/officeart/2005/8/layout/hList1"/>
    <dgm:cxn modelId="{33E48EE6-4F89-4E2C-A654-ED63DA13E0B6}" srcId="{F21AC287-B14D-40E4-9075-4B8D723F317E}" destId="{3EC044E6-0429-4024-A261-0F4E0EF1BCCA}" srcOrd="0" destOrd="0" parTransId="{25B9787E-A867-4241-B0D6-4B52CA557E0E}" sibTransId="{0B26743C-C1B7-4529-9FC6-C916BFD07112}"/>
    <dgm:cxn modelId="{CB87BCF9-1247-4C20-A5E3-E2F0737CF8FA}" type="presOf" srcId="{F21AC287-B14D-40E4-9075-4B8D723F317E}" destId="{3615B173-DC68-4815-91EB-4D908F351DB7}" srcOrd="0" destOrd="0" presId="urn:microsoft.com/office/officeart/2005/8/layout/hList1"/>
    <dgm:cxn modelId="{A620B6FA-78A9-499C-BF17-7FDD1A933EB7}" type="presOf" srcId="{48587C43-9B5A-41D3-8F12-EAB464411FB3}" destId="{3D223AFC-2EBA-4DEA-ACF0-22C0C72A64BE}" srcOrd="0" destOrd="0" presId="urn:microsoft.com/office/officeart/2005/8/layout/hList1"/>
    <dgm:cxn modelId="{B1F69EFC-61BF-411E-AA4B-56DDECC0B4A2}" srcId="{3BFB40F8-CC3E-4BAC-9BE6-0A53D71640E0}" destId="{598D63F3-C39E-460B-939F-5C1F8A3F4D42}" srcOrd="2" destOrd="0" parTransId="{E41F5B08-39F8-4B8D-A003-428EAB69D2AB}" sibTransId="{602971A7-6942-478A-8F02-79057D0DBD38}"/>
    <dgm:cxn modelId="{FB278000-B7CE-4764-9F61-C125722746CD}" type="presParOf" srcId="{5AF1EA22-CBB9-49A0-A645-37831B0D191E}" destId="{1CD740EE-F08B-487B-8E4F-CDFF216E5D1C}" srcOrd="0" destOrd="0" presId="urn:microsoft.com/office/officeart/2005/8/layout/hList1"/>
    <dgm:cxn modelId="{2EB2D77E-B6B2-455A-882C-CC5B3655E48B}" type="presParOf" srcId="{1CD740EE-F08B-487B-8E4F-CDFF216E5D1C}" destId="{DA91D6A1-11CD-4068-8BD4-E1A732D1952B}" srcOrd="0" destOrd="0" presId="urn:microsoft.com/office/officeart/2005/8/layout/hList1"/>
    <dgm:cxn modelId="{BB1485B3-CC75-40E7-B9C6-F8E5BF466AC0}" type="presParOf" srcId="{1CD740EE-F08B-487B-8E4F-CDFF216E5D1C}" destId="{3D223AFC-2EBA-4DEA-ACF0-22C0C72A64BE}" srcOrd="1" destOrd="0" presId="urn:microsoft.com/office/officeart/2005/8/layout/hList1"/>
    <dgm:cxn modelId="{7E0390C1-034B-4514-B1CF-AE6E703AEC41}" type="presParOf" srcId="{5AF1EA22-CBB9-49A0-A645-37831B0D191E}" destId="{E9B334E7-34FE-4423-92F6-77BEAAFFD972}" srcOrd="1" destOrd="0" presId="urn:microsoft.com/office/officeart/2005/8/layout/hList1"/>
    <dgm:cxn modelId="{3C7125A0-D457-4A18-90E1-D75943FC50FD}" type="presParOf" srcId="{5AF1EA22-CBB9-49A0-A645-37831B0D191E}" destId="{C97497E2-5722-448A-887D-DE68EA017E09}" srcOrd="2" destOrd="0" presId="urn:microsoft.com/office/officeart/2005/8/layout/hList1"/>
    <dgm:cxn modelId="{2AF972D0-86D7-484B-BB86-5F7D799F64F7}" type="presParOf" srcId="{C97497E2-5722-448A-887D-DE68EA017E09}" destId="{67B19E24-B723-48DC-B640-43429A84723C}" srcOrd="0" destOrd="0" presId="urn:microsoft.com/office/officeart/2005/8/layout/hList1"/>
    <dgm:cxn modelId="{B54D48DA-99E5-4302-9DB2-DE9AD16ABB68}" type="presParOf" srcId="{C97497E2-5722-448A-887D-DE68EA017E09}" destId="{211938FD-4188-47A2-83FD-586905BDCD5B}" srcOrd="1" destOrd="0" presId="urn:microsoft.com/office/officeart/2005/8/layout/hList1"/>
    <dgm:cxn modelId="{3074D076-A101-47BA-BD8C-BD5888981AAC}" type="presParOf" srcId="{5AF1EA22-CBB9-49A0-A645-37831B0D191E}" destId="{EB6ADDB6-E60D-49F0-8CE7-BE6F50C10A06}" srcOrd="3" destOrd="0" presId="urn:microsoft.com/office/officeart/2005/8/layout/hList1"/>
    <dgm:cxn modelId="{B13DBADD-9103-41CC-AC1D-D9AA26B73E31}" type="presParOf" srcId="{5AF1EA22-CBB9-49A0-A645-37831B0D191E}" destId="{CCDDA48A-CF49-4E63-B49B-B3D8D00A49FF}" srcOrd="4" destOrd="0" presId="urn:microsoft.com/office/officeart/2005/8/layout/hList1"/>
    <dgm:cxn modelId="{C35FD4A7-16FC-4799-AD37-DFC775B5E30E}" type="presParOf" srcId="{CCDDA48A-CF49-4E63-B49B-B3D8D00A49FF}" destId="{3615B173-DC68-4815-91EB-4D908F351DB7}" srcOrd="0" destOrd="0" presId="urn:microsoft.com/office/officeart/2005/8/layout/hList1"/>
    <dgm:cxn modelId="{87869F7E-A8B3-4955-92BC-9B83A6F5D5DA}" type="presParOf" srcId="{CCDDA48A-CF49-4E63-B49B-B3D8D00A49FF}" destId="{93DD3026-4235-43A6-A006-754051FE3B6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05D948-B62D-4E03-876F-30045F8C04A2}" type="doc">
      <dgm:prSet loTypeId="urn:microsoft.com/office/officeart/2005/8/layout/default" loCatId="list" qsTypeId="urn:microsoft.com/office/officeart/2005/8/quickstyle/simple1" qsCatId="simple" csTypeId="urn:microsoft.com/office/officeart/2005/8/colors/colorful3" csCatId="colorful" phldr="1"/>
      <dgm:spPr>
        <a:scene3d>
          <a:camera prst="orthographicFront">
            <a:rot lat="0" lon="0" rev="0"/>
          </a:camera>
          <a:lightRig rig="soft" dir="t">
            <a:rot lat="0" lon="0" rev="0"/>
          </a:lightRig>
        </a:scene3d>
      </dgm:spPr>
      <dgm:t>
        <a:bodyPr/>
        <a:lstStyle/>
        <a:p>
          <a:endParaRPr lang="en-IN"/>
        </a:p>
      </dgm:t>
    </dgm:pt>
    <dgm:pt modelId="{61D3EBA2-EEB5-446F-A65C-5F7043E8ADAD}">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Enhanced Decision making</a:t>
          </a:r>
        </a:p>
      </dgm:t>
    </dgm:pt>
    <dgm:pt modelId="{55994B4D-01A2-4FEB-97E6-7D105A7621C1}" type="parTrans" cxnId="{3FFB615E-53B4-48B8-9EDB-7AE8464864E6}">
      <dgm:prSet/>
      <dgm:spPr/>
      <dgm:t>
        <a:bodyPr/>
        <a:lstStyle/>
        <a:p>
          <a:endParaRPr lang="en-IN"/>
        </a:p>
      </dgm:t>
    </dgm:pt>
    <dgm:pt modelId="{7733BDA8-278C-45E0-999F-8979A92F3480}" type="sibTrans" cxnId="{3FFB615E-53B4-48B8-9EDB-7AE8464864E6}">
      <dgm:prSet/>
      <dgm:spPr/>
      <dgm:t>
        <a:bodyPr/>
        <a:lstStyle/>
        <a:p>
          <a:endParaRPr lang="en-IN"/>
        </a:p>
      </dgm:t>
    </dgm:pt>
    <dgm:pt modelId="{5BB071E7-2C5B-40CE-B4EE-F265D86AB364}">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Improved accuracy and efficiency</a:t>
          </a:r>
        </a:p>
      </dgm:t>
    </dgm:pt>
    <dgm:pt modelId="{DB662F47-A877-425C-A6B1-24F9532C1D25}" type="parTrans" cxnId="{01187931-43C4-49E9-8A6A-8809ACE7EB6B}">
      <dgm:prSet/>
      <dgm:spPr/>
      <dgm:t>
        <a:bodyPr/>
        <a:lstStyle/>
        <a:p>
          <a:endParaRPr lang="en-IN"/>
        </a:p>
      </dgm:t>
    </dgm:pt>
    <dgm:pt modelId="{B99CC8B5-6159-4F0D-8F6A-7958B77FD863}" type="sibTrans" cxnId="{01187931-43C4-49E9-8A6A-8809ACE7EB6B}">
      <dgm:prSet/>
      <dgm:spPr/>
      <dgm:t>
        <a:bodyPr/>
        <a:lstStyle/>
        <a:p>
          <a:endParaRPr lang="en-IN"/>
        </a:p>
      </dgm:t>
    </dgm:pt>
    <dgm:pt modelId="{1D017C8B-A22B-4A57-996E-A2C284B99317}">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Competitive advantage </a:t>
          </a:r>
        </a:p>
      </dgm:t>
    </dgm:pt>
    <dgm:pt modelId="{95F8D480-4260-4472-AB90-3645C8DBD378}" type="parTrans" cxnId="{30618771-87CE-440A-A22B-3E9E8E9CE53F}">
      <dgm:prSet/>
      <dgm:spPr/>
      <dgm:t>
        <a:bodyPr/>
        <a:lstStyle/>
        <a:p>
          <a:endParaRPr lang="en-IN"/>
        </a:p>
      </dgm:t>
    </dgm:pt>
    <dgm:pt modelId="{7A538B10-2F80-4238-9403-E8BD5895AE6D}" type="sibTrans" cxnId="{30618771-87CE-440A-A22B-3E9E8E9CE53F}">
      <dgm:prSet/>
      <dgm:spPr/>
      <dgm:t>
        <a:bodyPr/>
        <a:lstStyle/>
        <a:p>
          <a:endParaRPr lang="en-IN"/>
        </a:p>
      </dgm:t>
    </dgm:pt>
    <dgm:pt modelId="{804B73BE-7F7F-4C32-BBED-8FC3FF7B2CCE}">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Convenience</a:t>
          </a:r>
        </a:p>
      </dgm:t>
    </dgm:pt>
    <dgm:pt modelId="{CC0CAE04-0D68-4C9F-B079-0B7E8ACCD3A7}" type="parTrans" cxnId="{8716CA99-577C-42DA-A119-0D034B4BDA19}">
      <dgm:prSet/>
      <dgm:spPr/>
      <dgm:t>
        <a:bodyPr/>
        <a:lstStyle/>
        <a:p>
          <a:endParaRPr lang="en-IN"/>
        </a:p>
      </dgm:t>
    </dgm:pt>
    <dgm:pt modelId="{6D377148-4E30-46E9-8564-AB98090764AD}" type="sibTrans" cxnId="{8716CA99-577C-42DA-A119-0D034B4BDA19}">
      <dgm:prSet/>
      <dgm:spPr/>
      <dgm:t>
        <a:bodyPr/>
        <a:lstStyle/>
        <a:p>
          <a:endParaRPr lang="en-IN"/>
        </a:p>
      </dgm:t>
    </dgm:pt>
    <dgm:pt modelId="{95C03CD8-6A1B-4153-92AA-F93F9CC06E4B}" type="pres">
      <dgm:prSet presAssocID="{7E05D948-B62D-4E03-876F-30045F8C04A2}" presName="diagram" presStyleCnt="0">
        <dgm:presLayoutVars>
          <dgm:dir/>
          <dgm:resizeHandles val="exact"/>
        </dgm:presLayoutVars>
      </dgm:prSet>
      <dgm:spPr/>
    </dgm:pt>
    <dgm:pt modelId="{4ACEB00C-A711-41C9-B2B7-EAE0DBD37B93}" type="pres">
      <dgm:prSet presAssocID="{61D3EBA2-EEB5-446F-A65C-5F7043E8ADAD}" presName="node" presStyleLbl="node1" presStyleIdx="0" presStyleCnt="4">
        <dgm:presLayoutVars>
          <dgm:bulletEnabled val="1"/>
        </dgm:presLayoutVars>
      </dgm:prSet>
      <dgm:spPr/>
    </dgm:pt>
    <dgm:pt modelId="{237A32D3-C5B8-4FB2-B4CC-A32F1483BAF3}" type="pres">
      <dgm:prSet presAssocID="{7733BDA8-278C-45E0-999F-8979A92F3480}"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9E84094B-2DBF-45A8-A3FF-E4CD3050944B}" type="pres">
      <dgm:prSet presAssocID="{5BB071E7-2C5B-40CE-B4EE-F265D86AB364}" presName="node" presStyleLbl="node1" presStyleIdx="1" presStyleCnt="4">
        <dgm:presLayoutVars>
          <dgm:bulletEnabled val="1"/>
        </dgm:presLayoutVars>
      </dgm:prSet>
      <dgm:spPr/>
    </dgm:pt>
    <dgm:pt modelId="{FAA817CF-2302-4B75-A351-684CA0DF07E1}" type="pres">
      <dgm:prSet presAssocID="{B99CC8B5-6159-4F0D-8F6A-7958B77FD863}"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2C6CC9DF-AF82-4B79-A8E1-F263216267A8}" type="pres">
      <dgm:prSet presAssocID="{1D017C8B-A22B-4A57-996E-A2C284B99317}" presName="node" presStyleLbl="node1" presStyleIdx="2" presStyleCnt="4">
        <dgm:presLayoutVars>
          <dgm:bulletEnabled val="1"/>
        </dgm:presLayoutVars>
      </dgm:prSet>
      <dgm:spPr/>
    </dgm:pt>
    <dgm:pt modelId="{BE4A972F-F3D6-4421-8C6A-1933E92A2EE1}" type="pres">
      <dgm:prSet presAssocID="{7A538B10-2F80-4238-9403-E8BD5895AE6D}"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6710F827-12F9-487A-8197-38C1A54806D7}" type="pres">
      <dgm:prSet presAssocID="{804B73BE-7F7F-4C32-BBED-8FC3FF7B2CCE}" presName="node" presStyleLbl="node1" presStyleIdx="3" presStyleCnt="4">
        <dgm:presLayoutVars>
          <dgm:bulletEnabled val="1"/>
        </dgm:presLayoutVars>
      </dgm:prSet>
      <dgm:spPr/>
    </dgm:pt>
  </dgm:ptLst>
  <dgm:cxnLst>
    <dgm:cxn modelId="{01861516-8275-4D0D-AE94-0F0B58E3A3CD}" type="presOf" srcId="{5BB071E7-2C5B-40CE-B4EE-F265D86AB364}" destId="{9E84094B-2DBF-45A8-A3FF-E4CD3050944B}" srcOrd="0" destOrd="0" presId="urn:microsoft.com/office/officeart/2005/8/layout/default"/>
    <dgm:cxn modelId="{01187931-43C4-49E9-8A6A-8809ACE7EB6B}" srcId="{7E05D948-B62D-4E03-876F-30045F8C04A2}" destId="{5BB071E7-2C5B-40CE-B4EE-F265D86AB364}" srcOrd="1" destOrd="0" parTransId="{DB662F47-A877-425C-A6B1-24F9532C1D25}" sibTransId="{B99CC8B5-6159-4F0D-8F6A-7958B77FD863}"/>
    <dgm:cxn modelId="{29395F37-EAC2-4AF6-94BC-57EF83D902F2}" type="presOf" srcId="{804B73BE-7F7F-4C32-BBED-8FC3FF7B2CCE}" destId="{6710F827-12F9-487A-8197-38C1A54806D7}" srcOrd="0" destOrd="0" presId="urn:microsoft.com/office/officeart/2005/8/layout/default"/>
    <dgm:cxn modelId="{3FFB615E-53B4-48B8-9EDB-7AE8464864E6}" srcId="{7E05D948-B62D-4E03-876F-30045F8C04A2}" destId="{61D3EBA2-EEB5-446F-A65C-5F7043E8ADAD}" srcOrd="0" destOrd="0" parTransId="{55994B4D-01A2-4FEB-97E6-7D105A7621C1}" sibTransId="{7733BDA8-278C-45E0-999F-8979A92F3480}"/>
    <dgm:cxn modelId="{30618771-87CE-440A-A22B-3E9E8E9CE53F}" srcId="{7E05D948-B62D-4E03-876F-30045F8C04A2}" destId="{1D017C8B-A22B-4A57-996E-A2C284B99317}" srcOrd="2" destOrd="0" parTransId="{95F8D480-4260-4472-AB90-3645C8DBD378}" sibTransId="{7A538B10-2F80-4238-9403-E8BD5895AE6D}"/>
    <dgm:cxn modelId="{8716CA99-577C-42DA-A119-0D034B4BDA19}" srcId="{7E05D948-B62D-4E03-876F-30045F8C04A2}" destId="{804B73BE-7F7F-4C32-BBED-8FC3FF7B2CCE}" srcOrd="3" destOrd="0" parTransId="{CC0CAE04-0D68-4C9F-B079-0B7E8ACCD3A7}" sibTransId="{6D377148-4E30-46E9-8564-AB98090764AD}"/>
    <dgm:cxn modelId="{820508D2-9C6D-4D2C-B749-3D8F10838ABC}" type="presOf" srcId="{1D017C8B-A22B-4A57-996E-A2C284B99317}" destId="{2C6CC9DF-AF82-4B79-A8E1-F263216267A8}" srcOrd="0" destOrd="0" presId="urn:microsoft.com/office/officeart/2005/8/layout/default"/>
    <dgm:cxn modelId="{197438E2-A4DD-4282-B829-BC181127DB52}" type="presOf" srcId="{7E05D948-B62D-4E03-876F-30045F8C04A2}" destId="{95C03CD8-6A1B-4153-92AA-F93F9CC06E4B}" srcOrd="0" destOrd="0" presId="urn:microsoft.com/office/officeart/2005/8/layout/default"/>
    <dgm:cxn modelId="{6BF3AFFD-75C7-4B38-B855-11B0417343BE}" type="presOf" srcId="{61D3EBA2-EEB5-446F-A65C-5F7043E8ADAD}" destId="{4ACEB00C-A711-41C9-B2B7-EAE0DBD37B93}" srcOrd="0" destOrd="0" presId="urn:microsoft.com/office/officeart/2005/8/layout/default"/>
    <dgm:cxn modelId="{2B9B72EC-D5AE-48A7-B200-2A83EEF413DF}" type="presParOf" srcId="{95C03CD8-6A1B-4153-92AA-F93F9CC06E4B}" destId="{4ACEB00C-A711-41C9-B2B7-EAE0DBD37B93}" srcOrd="0" destOrd="0" presId="urn:microsoft.com/office/officeart/2005/8/layout/default"/>
    <dgm:cxn modelId="{77231D94-13A3-423A-853F-DAF394E6CB4B}" type="presParOf" srcId="{95C03CD8-6A1B-4153-92AA-F93F9CC06E4B}" destId="{237A32D3-C5B8-4FB2-B4CC-A32F1483BAF3}" srcOrd="1" destOrd="0" presId="urn:microsoft.com/office/officeart/2005/8/layout/default"/>
    <dgm:cxn modelId="{26D48B40-2345-4AC0-9B32-EC92D0B3A47A}" type="presParOf" srcId="{95C03CD8-6A1B-4153-92AA-F93F9CC06E4B}" destId="{9E84094B-2DBF-45A8-A3FF-E4CD3050944B}" srcOrd="2" destOrd="0" presId="urn:microsoft.com/office/officeart/2005/8/layout/default"/>
    <dgm:cxn modelId="{32C3BA5A-0E6E-47CC-8D40-D1FE9F140BEA}" type="presParOf" srcId="{95C03CD8-6A1B-4153-92AA-F93F9CC06E4B}" destId="{FAA817CF-2302-4B75-A351-684CA0DF07E1}" srcOrd="3" destOrd="0" presId="urn:microsoft.com/office/officeart/2005/8/layout/default"/>
    <dgm:cxn modelId="{AB1B9169-A409-4482-B8C8-A1EB0B0766E5}" type="presParOf" srcId="{95C03CD8-6A1B-4153-92AA-F93F9CC06E4B}" destId="{2C6CC9DF-AF82-4B79-A8E1-F263216267A8}" srcOrd="4" destOrd="0" presId="urn:microsoft.com/office/officeart/2005/8/layout/default"/>
    <dgm:cxn modelId="{5968A2A6-8738-477F-9E77-7DABB74462ED}" type="presParOf" srcId="{95C03CD8-6A1B-4153-92AA-F93F9CC06E4B}" destId="{BE4A972F-F3D6-4421-8C6A-1933E92A2EE1}" srcOrd="5" destOrd="0" presId="urn:microsoft.com/office/officeart/2005/8/layout/default"/>
    <dgm:cxn modelId="{EAC4A550-10AB-4BBA-8180-779703A81729}" type="presParOf" srcId="{95C03CD8-6A1B-4153-92AA-F93F9CC06E4B}" destId="{6710F827-12F9-487A-8197-38C1A54806D7}"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89CE48E-3172-4844-95CF-DCE5B088D1B7}"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IN"/>
        </a:p>
      </dgm:t>
    </dgm:pt>
    <dgm:pt modelId="{1771D1B4-E645-48E3-8DF2-6D59A9270EC4}">
      <dgm:prSet phldrT="[Text]" custT="1"/>
      <dgm:spPr/>
      <dgm:t>
        <a:bodyPr/>
        <a:lstStyle/>
        <a:p>
          <a:r>
            <a:rPr lang="en-IN" sz="3600" b="1" dirty="0"/>
            <a:t>Visualization</a:t>
          </a:r>
        </a:p>
      </dgm:t>
    </dgm:pt>
    <dgm:pt modelId="{35A75A71-74D4-474D-AC7D-074986B9B382}" type="parTrans" cxnId="{1C1542E3-22FD-486D-9F75-D115E4A259BC}">
      <dgm:prSet/>
      <dgm:spPr/>
      <dgm:t>
        <a:bodyPr/>
        <a:lstStyle/>
        <a:p>
          <a:endParaRPr lang="en-IN"/>
        </a:p>
      </dgm:t>
    </dgm:pt>
    <dgm:pt modelId="{834CC40E-0B34-4237-A2BF-727BC0B544F6}" type="sibTrans" cxnId="{1C1542E3-22FD-486D-9F75-D115E4A259BC}">
      <dgm:prSet/>
      <dgm:spPr/>
      <dgm:t>
        <a:bodyPr/>
        <a:lstStyle/>
        <a:p>
          <a:endParaRPr lang="en-IN"/>
        </a:p>
      </dgm:t>
    </dgm:pt>
    <dgm:pt modelId="{5001437F-51F7-4633-A4BE-ACA4D1136CE0}">
      <dgm:prSet phldrT="[Text]" custT="1"/>
      <dgm:spPr/>
      <dgm:t>
        <a:bodyPr/>
        <a:lstStyle/>
        <a:p>
          <a:pPr algn="l"/>
          <a:endParaRPr lang="en-IN" sz="2400" dirty="0"/>
        </a:p>
        <a:p>
          <a:pPr algn="ctr"/>
          <a:r>
            <a:rPr lang="en-IN" sz="2400" dirty="0"/>
            <a:t>Bar charts depicting the distribution of devices in the data set</a:t>
          </a:r>
        </a:p>
      </dgm:t>
    </dgm:pt>
    <dgm:pt modelId="{AC57E4C5-0EEE-469B-875D-116DAD7B028C}" type="parTrans" cxnId="{F8F63AD8-BA59-43C9-8A03-3A935260C4B3}">
      <dgm:prSet/>
      <dgm:spPr/>
      <dgm:t>
        <a:bodyPr/>
        <a:lstStyle/>
        <a:p>
          <a:endParaRPr lang="en-IN"/>
        </a:p>
      </dgm:t>
    </dgm:pt>
    <dgm:pt modelId="{14B100D9-B53C-4EB6-B3BE-AB5229D2B0BA}" type="sibTrans" cxnId="{F8F63AD8-BA59-43C9-8A03-3A935260C4B3}">
      <dgm:prSet/>
      <dgm:spPr/>
      <dgm:t>
        <a:bodyPr/>
        <a:lstStyle/>
        <a:p>
          <a:endParaRPr lang="en-IN"/>
        </a:p>
      </dgm:t>
    </dgm:pt>
    <dgm:pt modelId="{C408E6A8-8057-471F-B18D-B01D6E3430B8}">
      <dgm:prSet phldrT="[Text]" custT="1"/>
      <dgm:spPr/>
      <dgm:t>
        <a:bodyPr/>
        <a:lstStyle/>
        <a:p>
          <a:endParaRPr lang="en-IN" sz="2400" dirty="0"/>
        </a:p>
        <a:p>
          <a:r>
            <a:rPr lang="en-IN" sz="2400" dirty="0"/>
            <a:t>ROC curves of each model to select which one is the best</a:t>
          </a:r>
        </a:p>
      </dgm:t>
    </dgm:pt>
    <dgm:pt modelId="{BB8ACD05-33BF-4685-BDC5-C8B2E0F1FBD9}" type="parTrans" cxnId="{A54180C1-D442-44D2-93C2-3A62475E77D4}">
      <dgm:prSet/>
      <dgm:spPr/>
      <dgm:t>
        <a:bodyPr/>
        <a:lstStyle/>
        <a:p>
          <a:endParaRPr lang="en-IN"/>
        </a:p>
      </dgm:t>
    </dgm:pt>
    <dgm:pt modelId="{FAE738F3-7B6E-4977-86BC-33B9B3B95FC2}" type="sibTrans" cxnId="{A54180C1-D442-44D2-93C2-3A62475E77D4}">
      <dgm:prSet/>
      <dgm:spPr/>
      <dgm:t>
        <a:bodyPr/>
        <a:lstStyle/>
        <a:p>
          <a:endParaRPr lang="en-IN"/>
        </a:p>
      </dgm:t>
    </dgm:pt>
    <dgm:pt modelId="{C8333305-239F-4EC5-864A-A9E52E9BEE68}" type="pres">
      <dgm:prSet presAssocID="{F89CE48E-3172-4844-95CF-DCE5B088D1B7}" presName="diagram" presStyleCnt="0">
        <dgm:presLayoutVars>
          <dgm:chMax val="1"/>
          <dgm:dir/>
          <dgm:animLvl val="ctr"/>
          <dgm:resizeHandles val="exact"/>
        </dgm:presLayoutVars>
      </dgm:prSet>
      <dgm:spPr/>
    </dgm:pt>
    <dgm:pt modelId="{081773CC-D0CF-4359-8945-8B0B7848931D}" type="pres">
      <dgm:prSet presAssocID="{F89CE48E-3172-4844-95CF-DCE5B088D1B7}" presName="matrix" presStyleCnt="0"/>
      <dgm:spPr/>
    </dgm:pt>
    <dgm:pt modelId="{DB152FF2-0AEF-4966-AE7B-E74AE04E441A}" type="pres">
      <dgm:prSet presAssocID="{F89CE48E-3172-4844-95CF-DCE5B088D1B7}" presName="tile1" presStyleLbl="node1" presStyleIdx="0" presStyleCnt="4"/>
      <dgm:spPr/>
    </dgm:pt>
    <dgm:pt modelId="{B087855E-C94E-4231-9945-AF3B847193C4}" type="pres">
      <dgm:prSet presAssocID="{F89CE48E-3172-4844-95CF-DCE5B088D1B7}" presName="tile1text" presStyleLbl="node1" presStyleIdx="0" presStyleCnt="4">
        <dgm:presLayoutVars>
          <dgm:chMax val="0"/>
          <dgm:chPref val="0"/>
          <dgm:bulletEnabled val="1"/>
        </dgm:presLayoutVars>
      </dgm:prSet>
      <dgm:spPr/>
    </dgm:pt>
    <dgm:pt modelId="{7766114E-9472-443E-8EF8-350EF6FC5598}" type="pres">
      <dgm:prSet presAssocID="{F89CE48E-3172-4844-95CF-DCE5B088D1B7}" presName="tile2" presStyleLbl="node1" presStyleIdx="1" presStyleCnt="4"/>
      <dgm:spPr/>
    </dgm:pt>
    <dgm:pt modelId="{A5F94E1E-517E-4630-802D-B374DEA2D900}" type="pres">
      <dgm:prSet presAssocID="{F89CE48E-3172-4844-95CF-DCE5B088D1B7}" presName="tile2text" presStyleLbl="node1" presStyleIdx="1" presStyleCnt="4">
        <dgm:presLayoutVars>
          <dgm:chMax val="0"/>
          <dgm:chPref val="0"/>
          <dgm:bulletEnabled val="1"/>
        </dgm:presLayoutVars>
      </dgm:prSet>
      <dgm:spPr/>
    </dgm:pt>
    <dgm:pt modelId="{7117D965-7CD6-4E00-BA49-6E6D4F904AC2}" type="pres">
      <dgm:prSet presAssocID="{F89CE48E-3172-4844-95CF-DCE5B088D1B7}" presName="tile3" presStyleLbl="node1" presStyleIdx="2" presStyleCnt="4"/>
      <dgm:spPr/>
    </dgm:pt>
    <dgm:pt modelId="{7DA022EF-891E-4D00-91B8-A16FE645091A}" type="pres">
      <dgm:prSet presAssocID="{F89CE48E-3172-4844-95CF-DCE5B088D1B7}" presName="tile3text" presStyleLbl="node1" presStyleIdx="2" presStyleCnt="4">
        <dgm:presLayoutVars>
          <dgm:chMax val="0"/>
          <dgm:chPref val="0"/>
          <dgm:bulletEnabled val="1"/>
        </dgm:presLayoutVars>
      </dgm:prSet>
      <dgm:spPr/>
    </dgm:pt>
    <dgm:pt modelId="{DB76033E-E8D5-4BA7-9E2E-D52E197C4D71}" type="pres">
      <dgm:prSet presAssocID="{F89CE48E-3172-4844-95CF-DCE5B088D1B7}" presName="tile4" presStyleLbl="node1" presStyleIdx="3" presStyleCnt="4"/>
      <dgm:spPr/>
    </dgm:pt>
    <dgm:pt modelId="{4D618A44-5158-4C94-802E-1F52AD66F798}" type="pres">
      <dgm:prSet presAssocID="{F89CE48E-3172-4844-95CF-DCE5B088D1B7}" presName="tile4text" presStyleLbl="node1" presStyleIdx="3" presStyleCnt="4">
        <dgm:presLayoutVars>
          <dgm:chMax val="0"/>
          <dgm:chPref val="0"/>
          <dgm:bulletEnabled val="1"/>
        </dgm:presLayoutVars>
      </dgm:prSet>
      <dgm:spPr/>
    </dgm:pt>
    <dgm:pt modelId="{6D166AE8-718C-4B5E-85B3-4C2BD9202BF7}" type="pres">
      <dgm:prSet presAssocID="{F89CE48E-3172-4844-95CF-DCE5B088D1B7}" presName="centerTile" presStyleLbl="fgShp" presStyleIdx="0" presStyleCnt="1" custScaleX="276953" custLinFactY="195" custLinFactNeighborX="0" custLinFactNeighborY="100000">
        <dgm:presLayoutVars>
          <dgm:chMax val="0"/>
          <dgm:chPref val="0"/>
        </dgm:presLayoutVars>
      </dgm:prSet>
      <dgm:spPr/>
    </dgm:pt>
  </dgm:ptLst>
  <dgm:cxnLst>
    <dgm:cxn modelId="{876F6735-D2C9-437D-BE47-38D6167259F2}" type="presOf" srcId="{C408E6A8-8057-471F-B18D-B01D6E3430B8}" destId="{7766114E-9472-443E-8EF8-350EF6FC5598}" srcOrd="0" destOrd="0" presId="urn:microsoft.com/office/officeart/2005/8/layout/matrix1"/>
    <dgm:cxn modelId="{24205552-FA12-4148-9E60-4145C970A4B6}" type="presOf" srcId="{5001437F-51F7-4633-A4BE-ACA4D1136CE0}" destId="{DB152FF2-0AEF-4966-AE7B-E74AE04E441A}" srcOrd="0" destOrd="0" presId="urn:microsoft.com/office/officeart/2005/8/layout/matrix1"/>
    <dgm:cxn modelId="{4B28EEBB-8F41-402B-B553-82E99EA86C74}" type="presOf" srcId="{F89CE48E-3172-4844-95CF-DCE5B088D1B7}" destId="{C8333305-239F-4EC5-864A-A9E52E9BEE68}" srcOrd="0" destOrd="0" presId="urn:microsoft.com/office/officeart/2005/8/layout/matrix1"/>
    <dgm:cxn modelId="{A119F7C0-089E-430C-9005-12050D052610}" type="presOf" srcId="{C408E6A8-8057-471F-B18D-B01D6E3430B8}" destId="{A5F94E1E-517E-4630-802D-B374DEA2D900}" srcOrd="1" destOrd="0" presId="urn:microsoft.com/office/officeart/2005/8/layout/matrix1"/>
    <dgm:cxn modelId="{A54180C1-D442-44D2-93C2-3A62475E77D4}" srcId="{1771D1B4-E645-48E3-8DF2-6D59A9270EC4}" destId="{C408E6A8-8057-471F-B18D-B01D6E3430B8}" srcOrd="1" destOrd="0" parTransId="{BB8ACD05-33BF-4685-BDC5-C8B2E0F1FBD9}" sibTransId="{FAE738F3-7B6E-4977-86BC-33B9B3B95FC2}"/>
    <dgm:cxn modelId="{31F2B1C4-3C44-4040-98CF-B6A9F2DD6D9F}" type="presOf" srcId="{1771D1B4-E645-48E3-8DF2-6D59A9270EC4}" destId="{6D166AE8-718C-4B5E-85B3-4C2BD9202BF7}" srcOrd="0" destOrd="0" presId="urn:microsoft.com/office/officeart/2005/8/layout/matrix1"/>
    <dgm:cxn modelId="{B6BF98CA-1F76-43B1-A78E-59892CF0D939}" type="presOf" srcId="{5001437F-51F7-4633-A4BE-ACA4D1136CE0}" destId="{B087855E-C94E-4231-9945-AF3B847193C4}" srcOrd="1" destOrd="0" presId="urn:microsoft.com/office/officeart/2005/8/layout/matrix1"/>
    <dgm:cxn modelId="{F8F63AD8-BA59-43C9-8A03-3A935260C4B3}" srcId="{1771D1B4-E645-48E3-8DF2-6D59A9270EC4}" destId="{5001437F-51F7-4633-A4BE-ACA4D1136CE0}" srcOrd="0" destOrd="0" parTransId="{AC57E4C5-0EEE-469B-875D-116DAD7B028C}" sibTransId="{14B100D9-B53C-4EB6-B3BE-AB5229D2B0BA}"/>
    <dgm:cxn modelId="{1C1542E3-22FD-486D-9F75-D115E4A259BC}" srcId="{F89CE48E-3172-4844-95CF-DCE5B088D1B7}" destId="{1771D1B4-E645-48E3-8DF2-6D59A9270EC4}" srcOrd="0" destOrd="0" parTransId="{35A75A71-74D4-474D-AC7D-074986B9B382}" sibTransId="{834CC40E-0B34-4237-A2BF-727BC0B544F6}"/>
    <dgm:cxn modelId="{A1498924-C844-4B5E-9F23-F4AAB4670165}" type="presParOf" srcId="{C8333305-239F-4EC5-864A-A9E52E9BEE68}" destId="{081773CC-D0CF-4359-8945-8B0B7848931D}" srcOrd="0" destOrd="0" presId="urn:microsoft.com/office/officeart/2005/8/layout/matrix1"/>
    <dgm:cxn modelId="{80071396-A543-4A31-9AA1-FBCA6FE259BB}" type="presParOf" srcId="{081773CC-D0CF-4359-8945-8B0B7848931D}" destId="{DB152FF2-0AEF-4966-AE7B-E74AE04E441A}" srcOrd="0" destOrd="0" presId="urn:microsoft.com/office/officeart/2005/8/layout/matrix1"/>
    <dgm:cxn modelId="{B79C675D-A09B-4987-AA8D-D4B36AAF9684}" type="presParOf" srcId="{081773CC-D0CF-4359-8945-8B0B7848931D}" destId="{B087855E-C94E-4231-9945-AF3B847193C4}" srcOrd="1" destOrd="0" presId="urn:microsoft.com/office/officeart/2005/8/layout/matrix1"/>
    <dgm:cxn modelId="{E774422F-0B25-4F7D-88E4-EC5CE2D05BD8}" type="presParOf" srcId="{081773CC-D0CF-4359-8945-8B0B7848931D}" destId="{7766114E-9472-443E-8EF8-350EF6FC5598}" srcOrd="2" destOrd="0" presId="urn:microsoft.com/office/officeart/2005/8/layout/matrix1"/>
    <dgm:cxn modelId="{567C81D0-7124-4403-B4BE-1C9394516FBF}" type="presParOf" srcId="{081773CC-D0CF-4359-8945-8B0B7848931D}" destId="{A5F94E1E-517E-4630-802D-B374DEA2D900}" srcOrd="3" destOrd="0" presId="urn:microsoft.com/office/officeart/2005/8/layout/matrix1"/>
    <dgm:cxn modelId="{71529030-61AE-49C3-A811-763C9C5948CB}" type="presParOf" srcId="{081773CC-D0CF-4359-8945-8B0B7848931D}" destId="{7117D965-7CD6-4E00-BA49-6E6D4F904AC2}" srcOrd="4" destOrd="0" presId="urn:microsoft.com/office/officeart/2005/8/layout/matrix1"/>
    <dgm:cxn modelId="{72F57CE1-C70D-4086-8C0A-AC5571B82931}" type="presParOf" srcId="{081773CC-D0CF-4359-8945-8B0B7848931D}" destId="{7DA022EF-891E-4D00-91B8-A16FE645091A}" srcOrd="5" destOrd="0" presId="urn:microsoft.com/office/officeart/2005/8/layout/matrix1"/>
    <dgm:cxn modelId="{E8A25210-A0A7-4A23-BEA6-586B3464692D}" type="presParOf" srcId="{081773CC-D0CF-4359-8945-8B0B7848931D}" destId="{DB76033E-E8D5-4BA7-9E2E-D52E197C4D71}" srcOrd="6" destOrd="0" presId="urn:microsoft.com/office/officeart/2005/8/layout/matrix1"/>
    <dgm:cxn modelId="{46797ED7-22F1-4008-A7B0-357DAAE918F1}" type="presParOf" srcId="{081773CC-D0CF-4359-8945-8B0B7848931D}" destId="{4D618A44-5158-4C94-802E-1F52AD66F798}" srcOrd="7" destOrd="0" presId="urn:microsoft.com/office/officeart/2005/8/layout/matrix1"/>
    <dgm:cxn modelId="{780BA874-FF44-4AB9-BB16-4B8ED461CF5F}" type="presParOf" srcId="{C8333305-239F-4EC5-864A-A9E52E9BEE68}" destId="{6D166AE8-718C-4B5E-85B3-4C2BD9202BF7}" srcOrd="1" destOrd="0" presId="urn:microsoft.com/office/officeart/2005/8/layout/matrix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566DF7-9D0F-42B0-95B5-02300933E1E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272B89CF-80A6-424E-B3EE-DD9EC9FF91E5}">
      <dgm:prSet phldrT="[Text]"/>
      <dgm:spPr/>
      <dgm:t>
        <a:bodyPr/>
        <a:lstStyle/>
        <a:p>
          <a:r>
            <a:rPr lang="en-IN" dirty="0"/>
            <a:t>User centric </a:t>
          </a:r>
          <a:r>
            <a:rPr lang="en-IN" dirty="0" err="1"/>
            <a:t>streamlit</a:t>
          </a:r>
          <a:r>
            <a:rPr lang="en-IN" dirty="0"/>
            <a:t> design</a:t>
          </a:r>
        </a:p>
      </dgm:t>
    </dgm:pt>
    <dgm:pt modelId="{7491F6CC-F365-48C0-AA84-6C4ECDAC05FB}" type="parTrans" cxnId="{5D76FE8C-28C3-429C-9562-00051DB37C8D}">
      <dgm:prSet/>
      <dgm:spPr/>
      <dgm:t>
        <a:bodyPr/>
        <a:lstStyle/>
        <a:p>
          <a:endParaRPr lang="en-IN"/>
        </a:p>
      </dgm:t>
    </dgm:pt>
    <dgm:pt modelId="{BC0783D2-FDE6-4254-97A4-5455E6A6CF1A}" type="sibTrans" cxnId="{5D76FE8C-28C3-429C-9562-00051DB37C8D}">
      <dgm:prSet/>
      <dgm:spPr/>
      <dgm:t>
        <a:bodyPr/>
        <a:lstStyle/>
        <a:p>
          <a:endParaRPr lang="en-IN"/>
        </a:p>
      </dgm:t>
    </dgm:pt>
    <dgm:pt modelId="{E8CDD278-A37C-4925-A886-33E585356BA1}">
      <dgm:prSet phldrT="[Text]"/>
      <dgm:spPr/>
      <dgm:t>
        <a:bodyPr/>
        <a:lstStyle/>
        <a:p>
          <a:r>
            <a:rPr lang="en-IN" dirty="0"/>
            <a:t>User friendly interface which allows easy navigation</a:t>
          </a:r>
        </a:p>
      </dgm:t>
    </dgm:pt>
    <dgm:pt modelId="{629E5B6D-7ADB-45A1-A20D-9C15360DEEB1}" type="parTrans" cxnId="{EF18AC93-2672-477A-8FE9-03ED5C3AFB9F}">
      <dgm:prSet/>
      <dgm:spPr/>
      <dgm:t>
        <a:bodyPr/>
        <a:lstStyle/>
        <a:p>
          <a:endParaRPr lang="en-IN"/>
        </a:p>
      </dgm:t>
    </dgm:pt>
    <dgm:pt modelId="{8790112F-EA12-4164-AEB3-B9F3D9A1A7B9}" type="sibTrans" cxnId="{EF18AC93-2672-477A-8FE9-03ED5C3AFB9F}">
      <dgm:prSet/>
      <dgm:spPr/>
      <dgm:t>
        <a:bodyPr/>
        <a:lstStyle/>
        <a:p>
          <a:endParaRPr lang="en-IN"/>
        </a:p>
      </dgm:t>
    </dgm:pt>
    <dgm:pt modelId="{C491B81A-C670-4215-9E64-BCCADA3C2875}">
      <dgm:prSet phldrT="[Text]"/>
      <dgm:spPr/>
      <dgm:t>
        <a:bodyPr/>
        <a:lstStyle/>
        <a:p>
          <a:r>
            <a:rPr lang="en-IN" dirty="0"/>
            <a:t>Accessibility features </a:t>
          </a:r>
        </a:p>
      </dgm:t>
    </dgm:pt>
    <dgm:pt modelId="{809F4AEC-5C79-4F00-8A14-E18BDE25B44E}" type="parTrans" cxnId="{7BE4AE80-D15E-4DBB-968A-63CCE46B37D5}">
      <dgm:prSet/>
      <dgm:spPr/>
      <dgm:t>
        <a:bodyPr/>
        <a:lstStyle/>
        <a:p>
          <a:endParaRPr lang="en-IN"/>
        </a:p>
      </dgm:t>
    </dgm:pt>
    <dgm:pt modelId="{D85EE4D7-943D-4485-8777-85E32F8486B0}" type="sibTrans" cxnId="{7BE4AE80-D15E-4DBB-968A-63CCE46B37D5}">
      <dgm:prSet/>
      <dgm:spPr/>
      <dgm:t>
        <a:bodyPr/>
        <a:lstStyle/>
        <a:p>
          <a:endParaRPr lang="en-IN"/>
        </a:p>
      </dgm:t>
    </dgm:pt>
    <dgm:pt modelId="{5911A309-AC21-415E-B396-6E1AC1C11C19}">
      <dgm:prSet phldrT="[Text]"/>
      <dgm:spPr/>
      <dgm:t>
        <a:bodyPr/>
        <a:lstStyle/>
        <a:p>
          <a:r>
            <a:rPr lang="en-IN" dirty="0"/>
            <a:t>Good colour contrast and font size</a:t>
          </a:r>
        </a:p>
      </dgm:t>
    </dgm:pt>
    <dgm:pt modelId="{EF018BD9-DCDB-4FCB-9D24-47F23157E328}" type="parTrans" cxnId="{00D24D15-FA50-412C-BBD2-D51CD14D0E50}">
      <dgm:prSet/>
      <dgm:spPr/>
      <dgm:t>
        <a:bodyPr/>
        <a:lstStyle/>
        <a:p>
          <a:endParaRPr lang="en-IN"/>
        </a:p>
      </dgm:t>
    </dgm:pt>
    <dgm:pt modelId="{338CA504-F655-4338-A708-4072DAD2B891}" type="sibTrans" cxnId="{00D24D15-FA50-412C-BBD2-D51CD14D0E50}">
      <dgm:prSet/>
      <dgm:spPr/>
      <dgm:t>
        <a:bodyPr/>
        <a:lstStyle/>
        <a:p>
          <a:endParaRPr lang="en-IN"/>
        </a:p>
      </dgm:t>
    </dgm:pt>
    <dgm:pt modelId="{9DF788A0-3CD6-4ED8-9A1B-1B9D50B80458}">
      <dgm:prSet phldrT="[Text]"/>
      <dgm:spPr/>
      <dgm:t>
        <a:bodyPr/>
        <a:lstStyle/>
        <a:p>
          <a:r>
            <a:rPr lang="en-IN" dirty="0"/>
            <a:t>Clear Visualizations </a:t>
          </a:r>
        </a:p>
      </dgm:t>
    </dgm:pt>
    <dgm:pt modelId="{F2D13DBF-213C-4D32-A686-2C2A7EA8FFEF}" type="parTrans" cxnId="{349381BB-D58F-4019-A160-EC89A1B87072}">
      <dgm:prSet/>
      <dgm:spPr/>
      <dgm:t>
        <a:bodyPr/>
        <a:lstStyle/>
        <a:p>
          <a:endParaRPr lang="en-IN"/>
        </a:p>
      </dgm:t>
    </dgm:pt>
    <dgm:pt modelId="{B11E0F7B-B90A-4852-BB21-E7E708AB6A66}" type="sibTrans" cxnId="{349381BB-D58F-4019-A160-EC89A1B87072}">
      <dgm:prSet/>
      <dgm:spPr/>
      <dgm:t>
        <a:bodyPr/>
        <a:lstStyle/>
        <a:p>
          <a:endParaRPr lang="en-IN"/>
        </a:p>
      </dgm:t>
    </dgm:pt>
    <dgm:pt modelId="{E8182651-80E8-4490-9933-98887A048E16}">
      <dgm:prSet/>
      <dgm:spPr/>
      <dgm:t>
        <a:bodyPr/>
        <a:lstStyle/>
        <a:p>
          <a:r>
            <a:rPr lang="en-IN" dirty="0"/>
            <a:t>Presenting data in an understandable manner </a:t>
          </a:r>
        </a:p>
      </dgm:t>
    </dgm:pt>
    <dgm:pt modelId="{A16908B8-4165-485C-84A9-85AC88A74436}" type="parTrans" cxnId="{6E498C72-1805-43C6-B00B-60E1134D79E8}">
      <dgm:prSet/>
      <dgm:spPr/>
      <dgm:t>
        <a:bodyPr/>
        <a:lstStyle/>
        <a:p>
          <a:endParaRPr lang="en-IN"/>
        </a:p>
      </dgm:t>
    </dgm:pt>
    <dgm:pt modelId="{DF7BD687-46D3-4F71-8C59-DD08FA471856}" type="sibTrans" cxnId="{6E498C72-1805-43C6-B00B-60E1134D79E8}">
      <dgm:prSet/>
      <dgm:spPr/>
      <dgm:t>
        <a:bodyPr/>
        <a:lstStyle/>
        <a:p>
          <a:endParaRPr lang="en-IN"/>
        </a:p>
      </dgm:t>
    </dgm:pt>
    <dgm:pt modelId="{DD523050-C125-49AC-AAD9-EFD0B482BAE2}" type="pres">
      <dgm:prSet presAssocID="{BF566DF7-9D0F-42B0-95B5-02300933E1E1}" presName="Name0" presStyleCnt="0">
        <dgm:presLayoutVars>
          <dgm:dir/>
          <dgm:animLvl val="lvl"/>
          <dgm:resizeHandles val="exact"/>
        </dgm:presLayoutVars>
      </dgm:prSet>
      <dgm:spPr/>
    </dgm:pt>
    <dgm:pt modelId="{E859D7B9-472C-4969-A8C7-88FAB668C3DD}" type="pres">
      <dgm:prSet presAssocID="{272B89CF-80A6-424E-B3EE-DD9EC9FF91E5}" presName="composite" presStyleCnt="0"/>
      <dgm:spPr/>
    </dgm:pt>
    <dgm:pt modelId="{18C82C3D-6326-4BC2-9900-6FCD9DCF66BC}" type="pres">
      <dgm:prSet presAssocID="{272B89CF-80A6-424E-B3EE-DD9EC9FF91E5}" presName="parTx" presStyleLbl="alignNode1" presStyleIdx="0" presStyleCnt="3">
        <dgm:presLayoutVars>
          <dgm:chMax val="0"/>
          <dgm:chPref val="0"/>
          <dgm:bulletEnabled val="1"/>
        </dgm:presLayoutVars>
      </dgm:prSet>
      <dgm:spPr/>
    </dgm:pt>
    <dgm:pt modelId="{D68DCCAA-D76B-4623-9C18-A255C6358BE1}" type="pres">
      <dgm:prSet presAssocID="{272B89CF-80A6-424E-B3EE-DD9EC9FF91E5}" presName="desTx" presStyleLbl="alignAccFollowNode1" presStyleIdx="0" presStyleCnt="3">
        <dgm:presLayoutVars>
          <dgm:bulletEnabled val="1"/>
        </dgm:presLayoutVars>
      </dgm:prSet>
      <dgm:spPr/>
    </dgm:pt>
    <dgm:pt modelId="{D64FCB79-B56B-438E-AE21-1F25065C94E2}" type="pres">
      <dgm:prSet presAssocID="{BC0783D2-FDE6-4254-97A4-5455E6A6CF1A}" presName="space" presStyleCnt="0"/>
      <dgm:spPr/>
    </dgm:pt>
    <dgm:pt modelId="{43D03738-6CA8-4564-A285-56360F73EB63}" type="pres">
      <dgm:prSet presAssocID="{C491B81A-C670-4215-9E64-BCCADA3C2875}" presName="composite" presStyleCnt="0"/>
      <dgm:spPr/>
    </dgm:pt>
    <dgm:pt modelId="{E9C227DB-6531-46DC-8666-3CEEAA788992}" type="pres">
      <dgm:prSet presAssocID="{C491B81A-C670-4215-9E64-BCCADA3C2875}" presName="parTx" presStyleLbl="alignNode1" presStyleIdx="1" presStyleCnt="3">
        <dgm:presLayoutVars>
          <dgm:chMax val="0"/>
          <dgm:chPref val="0"/>
          <dgm:bulletEnabled val="1"/>
        </dgm:presLayoutVars>
      </dgm:prSet>
      <dgm:spPr/>
    </dgm:pt>
    <dgm:pt modelId="{DD8E226E-4038-4D72-AD67-5AE91D8728EF}" type="pres">
      <dgm:prSet presAssocID="{C491B81A-C670-4215-9E64-BCCADA3C2875}" presName="desTx" presStyleLbl="alignAccFollowNode1" presStyleIdx="1" presStyleCnt="3">
        <dgm:presLayoutVars>
          <dgm:bulletEnabled val="1"/>
        </dgm:presLayoutVars>
      </dgm:prSet>
      <dgm:spPr/>
    </dgm:pt>
    <dgm:pt modelId="{8026C059-3DE9-46FE-87D9-64A1AABB3486}" type="pres">
      <dgm:prSet presAssocID="{D85EE4D7-943D-4485-8777-85E32F8486B0}" presName="space" presStyleCnt="0"/>
      <dgm:spPr/>
    </dgm:pt>
    <dgm:pt modelId="{B862E705-1916-427D-972B-D411771C3905}" type="pres">
      <dgm:prSet presAssocID="{9DF788A0-3CD6-4ED8-9A1B-1B9D50B80458}" presName="composite" presStyleCnt="0"/>
      <dgm:spPr/>
    </dgm:pt>
    <dgm:pt modelId="{03001F4A-42EB-4C1E-94DC-A2D074844536}" type="pres">
      <dgm:prSet presAssocID="{9DF788A0-3CD6-4ED8-9A1B-1B9D50B80458}" presName="parTx" presStyleLbl="alignNode1" presStyleIdx="2" presStyleCnt="3">
        <dgm:presLayoutVars>
          <dgm:chMax val="0"/>
          <dgm:chPref val="0"/>
          <dgm:bulletEnabled val="1"/>
        </dgm:presLayoutVars>
      </dgm:prSet>
      <dgm:spPr/>
    </dgm:pt>
    <dgm:pt modelId="{E32EE3E5-906A-420F-85B2-1320809C07C0}" type="pres">
      <dgm:prSet presAssocID="{9DF788A0-3CD6-4ED8-9A1B-1B9D50B80458}" presName="desTx" presStyleLbl="alignAccFollowNode1" presStyleIdx="2" presStyleCnt="3">
        <dgm:presLayoutVars>
          <dgm:bulletEnabled val="1"/>
        </dgm:presLayoutVars>
      </dgm:prSet>
      <dgm:spPr/>
    </dgm:pt>
  </dgm:ptLst>
  <dgm:cxnLst>
    <dgm:cxn modelId="{00D24D15-FA50-412C-BBD2-D51CD14D0E50}" srcId="{C491B81A-C670-4215-9E64-BCCADA3C2875}" destId="{5911A309-AC21-415E-B396-6E1AC1C11C19}" srcOrd="0" destOrd="0" parTransId="{EF018BD9-DCDB-4FCB-9D24-47F23157E328}" sibTransId="{338CA504-F655-4338-A708-4072DAD2B891}"/>
    <dgm:cxn modelId="{4BC5AA24-F883-41E0-9DEC-9420DB7AE535}" type="presOf" srcId="{E8182651-80E8-4490-9933-98887A048E16}" destId="{E32EE3E5-906A-420F-85B2-1320809C07C0}" srcOrd="0" destOrd="0" presId="urn:microsoft.com/office/officeart/2005/8/layout/hList1"/>
    <dgm:cxn modelId="{63EB0E4E-C480-460F-ACFE-585029782FA9}" type="presOf" srcId="{272B89CF-80A6-424E-B3EE-DD9EC9FF91E5}" destId="{18C82C3D-6326-4BC2-9900-6FCD9DCF66BC}" srcOrd="0" destOrd="0" presId="urn:microsoft.com/office/officeart/2005/8/layout/hList1"/>
    <dgm:cxn modelId="{76C1C94E-E2F4-4FED-9144-F6EBDC82BF8C}" type="presOf" srcId="{5911A309-AC21-415E-B396-6E1AC1C11C19}" destId="{DD8E226E-4038-4D72-AD67-5AE91D8728EF}" srcOrd="0" destOrd="0" presId="urn:microsoft.com/office/officeart/2005/8/layout/hList1"/>
    <dgm:cxn modelId="{6E498C72-1805-43C6-B00B-60E1134D79E8}" srcId="{9DF788A0-3CD6-4ED8-9A1B-1B9D50B80458}" destId="{E8182651-80E8-4490-9933-98887A048E16}" srcOrd="0" destOrd="0" parTransId="{A16908B8-4165-485C-84A9-85AC88A74436}" sibTransId="{DF7BD687-46D3-4F71-8C59-DD08FA471856}"/>
    <dgm:cxn modelId="{7BE4AE80-D15E-4DBB-968A-63CCE46B37D5}" srcId="{BF566DF7-9D0F-42B0-95B5-02300933E1E1}" destId="{C491B81A-C670-4215-9E64-BCCADA3C2875}" srcOrd="1" destOrd="0" parTransId="{809F4AEC-5C79-4F00-8A14-E18BDE25B44E}" sibTransId="{D85EE4D7-943D-4485-8777-85E32F8486B0}"/>
    <dgm:cxn modelId="{5D76FE8C-28C3-429C-9562-00051DB37C8D}" srcId="{BF566DF7-9D0F-42B0-95B5-02300933E1E1}" destId="{272B89CF-80A6-424E-B3EE-DD9EC9FF91E5}" srcOrd="0" destOrd="0" parTransId="{7491F6CC-F365-48C0-AA84-6C4ECDAC05FB}" sibTransId="{BC0783D2-FDE6-4254-97A4-5455E6A6CF1A}"/>
    <dgm:cxn modelId="{EF18AC93-2672-477A-8FE9-03ED5C3AFB9F}" srcId="{272B89CF-80A6-424E-B3EE-DD9EC9FF91E5}" destId="{E8CDD278-A37C-4925-A886-33E585356BA1}" srcOrd="0" destOrd="0" parTransId="{629E5B6D-7ADB-45A1-A20D-9C15360DEEB1}" sibTransId="{8790112F-EA12-4164-AEB3-B9F3D9A1A7B9}"/>
    <dgm:cxn modelId="{80A63B9B-D654-4AB8-981E-164706DC715A}" type="presOf" srcId="{C491B81A-C670-4215-9E64-BCCADA3C2875}" destId="{E9C227DB-6531-46DC-8666-3CEEAA788992}" srcOrd="0" destOrd="0" presId="urn:microsoft.com/office/officeart/2005/8/layout/hList1"/>
    <dgm:cxn modelId="{831B839C-AE46-4863-9A55-D6354812EACF}" type="presOf" srcId="{9DF788A0-3CD6-4ED8-9A1B-1B9D50B80458}" destId="{03001F4A-42EB-4C1E-94DC-A2D074844536}" srcOrd="0" destOrd="0" presId="urn:microsoft.com/office/officeart/2005/8/layout/hList1"/>
    <dgm:cxn modelId="{349381BB-D58F-4019-A160-EC89A1B87072}" srcId="{BF566DF7-9D0F-42B0-95B5-02300933E1E1}" destId="{9DF788A0-3CD6-4ED8-9A1B-1B9D50B80458}" srcOrd="2" destOrd="0" parTransId="{F2D13DBF-213C-4D32-A686-2C2A7EA8FFEF}" sibTransId="{B11E0F7B-B90A-4852-BB21-E7E708AB6A66}"/>
    <dgm:cxn modelId="{92DF95F4-18F9-471D-BA21-0AE286F9C8D4}" type="presOf" srcId="{BF566DF7-9D0F-42B0-95B5-02300933E1E1}" destId="{DD523050-C125-49AC-AAD9-EFD0B482BAE2}" srcOrd="0" destOrd="0" presId="urn:microsoft.com/office/officeart/2005/8/layout/hList1"/>
    <dgm:cxn modelId="{1186EFF5-47D1-4B34-911C-EDAC02D1FCCB}" type="presOf" srcId="{E8CDD278-A37C-4925-A886-33E585356BA1}" destId="{D68DCCAA-D76B-4623-9C18-A255C6358BE1}" srcOrd="0" destOrd="0" presId="urn:microsoft.com/office/officeart/2005/8/layout/hList1"/>
    <dgm:cxn modelId="{9FC307B9-A285-4C8A-977C-584E6F7A26E9}" type="presParOf" srcId="{DD523050-C125-49AC-AAD9-EFD0B482BAE2}" destId="{E859D7B9-472C-4969-A8C7-88FAB668C3DD}" srcOrd="0" destOrd="0" presId="urn:microsoft.com/office/officeart/2005/8/layout/hList1"/>
    <dgm:cxn modelId="{C4ABD93E-DBF9-4D55-BCD7-6D16A1E56C4C}" type="presParOf" srcId="{E859D7B9-472C-4969-A8C7-88FAB668C3DD}" destId="{18C82C3D-6326-4BC2-9900-6FCD9DCF66BC}" srcOrd="0" destOrd="0" presId="urn:microsoft.com/office/officeart/2005/8/layout/hList1"/>
    <dgm:cxn modelId="{82B0F2A9-27D1-41D0-B444-61C2A551F3DD}" type="presParOf" srcId="{E859D7B9-472C-4969-A8C7-88FAB668C3DD}" destId="{D68DCCAA-D76B-4623-9C18-A255C6358BE1}" srcOrd="1" destOrd="0" presId="urn:microsoft.com/office/officeart/2005/8/layout/hList1"/>
    <dgm:cxn modelId="{31B46DE4-6642-4EC1-807C-32CD1147B7A4}" type="presParOf" srcId="{DD523050-C125-49AC-AAD9-EFD0B482BAE2}" destId="{D64FCB79-B56B-438E-AE21-1F25065C94E2}" srcOrd="1" destOrd="0" presId="urn:microsoft.com/office/officeart/2005/8/layout/hList1"/>
    <dgm:cxn modelId="{BD426349-876D-44E3-9128-F1595B7B91FB}" type="presParOf" srcId="{DD523050-C125-49AC-AAD9-EFD0B482BAE2}" destId="{43D03738-6CA8-4564-A285-56360F73EB63}" srcOrd="2" destOrd="0" presId="urn:microsoft.com/office/officeart/2005/8/layout/hList1"/>
    <dgm:cxn modelId="{7EEEFCE5-8485-4B1B-8A45-5259D67FC1B9}" type="presParOf" srcId="{43D03738-6CA8-4564-A285-56360F73EB63}" destId="{E9C227DB-6531-46DC-8666-3CEEAA788992}" srcOrd="0" destOrd="0" presId="urn:microsoft.com/office/officeart/2005/8/layout/hList1"/>
    <dgm:cxn modelId="{25699614-B02C-4058-BC13-D1E811CE683C}" type="presParOf" srcId="{43D03738-6CA8-4564-A285-56360F73EB63}" destId="{DD8E226E-4038-4D72-AD67-5AE91D8728EF}" srcOrd="1" destOrd="0" presId="urn:microsoft.com/office/officeart/2005/8/layout/hList1"/>
    <dgm:cxn modelId="{7780C748-85BA-4D90-9DF7-13B3DCFD60D2}" type="presParOf" srcId="{DD523050-C125-49AC-AAD9-EFD0B482BAE2}" destId="{8026C059-3DE9-46FE-87D9-64A1AABB3486}" srcOrd="3" destOrd="0" presId="urn:microsoft.com/office/officeart/2005/8/layout/hList1"/>
    <dgm:cxn modelId="{0C5F6E76-536D-4550-831E-8A17086A9972}" type="presParOf" srcId="{DD523050-C125-49AC-AAD9-EFD0B482BAE2}" destId="{B862E705-1916-427D-972B-D411771C3905}" srcOrd="4" destOrd="0" presId="urn:microsoft.com/office/officeart/2005/8/layout/hList1"/>
    <dgm:cxn modelId="{A5900B67-DCBA-4C50-B5A4-5D2D86AA5434}" type="presParOf" srcId="{B862E705-1916-427D-972B-D411771C3905}" destId="{03001F4A-42EB-4C1E-94DC-A2D074844536}" srcOrd="0" destOrd="0" presId="urn:microsoft.com/office/officeart/2005/8/layout/hList1"/>
    <dgm:cxn modelId="{97615585-F11A-4B21-920C-18A1571C5379}" type="presParOf" srcId="{B862E705-1916-427D-972B-D411771C3905}" destId="{E32EE3E5-906A-420F-85B2-1320809C07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E27B975-8B1B-4538-980E-5E8A1E16E3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68F36723-C700-4A32-AD44-5133A8EF5207}">
      <dgm:prSet phldrT="[Text]"/>
      <dgm:spPr/>
      <dgm:t>
        <a:bodyPr/>
        <a:lstStyle/>
        <a:p>
          <a:r>
            <a:rPr lang="en-IN" dirty="0" err="1"/>
            <a:t>Streamlit</a:t>
          </a:r>
          <a:r>
            <a:rPr lang="en-IN" dirty="0"/>
            <a:t> sharing</a:t>
          </a:r>
        </a:p>
      </dgm:t>
    </dgm:pt>
    <dgm:pt modelId="{05746D1B-9687-49C8-BDFB-247643031BE1}" type="parTrans" cxnId="{1C991822-BE18-4110-AE9B-85867B069E8F}">
      <dgm:prSet/>
      <dgm:spPr/>
      <dgm:t>
        <a:bodyPr/>
        <a:lstStyle/>
        <a:p>
          <a:endParaRPr lang="en-IN"/>
        </a:p>
      </dgm:t>
    </dgm:pt>
    <dgm:pt modelId="{323D800B-1ACF-4377-A723-94A38B706990}" type="sibTrans" cxnId="{1C991822-BE18-4110-AE9B-85867B069E8F}">
      <dgm:prSet/>
      <dgm:spPr/>
      <dgm:t>
        <a:bodyPr/>
        <a:lstStyle/>
        <a:p>
          <a:endParaRPr lang="en-IN"/>
        </a:p>
      </dgm:t>
    </dgm:pt>
    <dgm:pt modelId="{32086BF2-E22F-48E8-855C-F7400057B64B}">
      <dgm:prSet phldrT="[Text]" custT="1"/>
      <dgm:spPr/>
      <dgm:t>
        <a:bodyPr/>
        <a:lstStyle/>
        <a:p>
          <a:r>
            <a:rPr lang="en-IN" sz="2400" dirty="0"/>
            <a:t>Ideal for quick deployment </a:t>
          </a:r>
        </a:p>
      </dgm:t>
    </dgm:pt>
    <dgm:pt modelId="{4D17F817-7072-401B-A179-D439A91047FF}" type="parTrans" cxnId="{BC3363AF-529E-4752-9C3D-DF8FB80512B5}">
      <dgm:prSet/>
      <dgm:spPr/>
      <dgm:t>
        <a:bodyPr/>
        <a:lstStyle/>
        <a:p>
          <a:endParaRPr lang="en-IN"/>
        </a:p>
      </dgm:t>
    </dgm:pt>
    <dgm:pt modelId="{271BE85A-3E2E-4C4A-89E9-09CA722263FA}" type="sibTrans" cxnId="{BC3363AF-529E-4752-9C3D-DF8FB80512B5}">
      <dgm:prSet/>
      <dgm:spPr/>
      <dgm:t>
        <a:bodyPr/>
        <a:lstStyle/>
        <a:p>
          <a:endParaRPr lang="en-IN"/>
        </a:p>
      </dgm:t>
    </dgm:pt>
    <dgm:pt modelId="{8950936D-C9DE-4478-83BA-4474C67F226C}">
      <dgm:prSet phldrT="[Text]"/>
      <dgm:spPr/>
      <dgm:t>
        <a:bodyPr/>
        <a:lstStyle/>
        <a:p>
          <a:r>
            <a:rPr lang="en-IN" dirty="0"/>
            <a:t>GitHub</a:t>
          </a:r>
        </a:p>
      </dgm:t>
    </dgm:pt>
    <dgm:pt modelId="{CB9FBF65-AF4C-4884-8C78-D1EF93976C14}" type="parTrans" cxnId="{4BAB6BA0-9B8F-426A-9815-82A27F80C309}">
      <dgm:prSet/>
      <dgm:spPr/>
      <dgm:t>
        <a:bodyPr/>
        <a:lstStyle/>
        <a:p>
          <a:endParaRPr lang="en-IN"/>
        </a:p>
      </dgm:t>
    </dgm:pt>
    <dgm:pt modelId="{48F726ED-192E-4091-AC6B-6C8FCB356B60}" type="sibTrans" cxnId="{4BAB6BA0-9B8F-426A-9815-82A27F80C309}">
      <dgm:prSet/>
      <dgm:spPr/>
      <dgm:t>
        <a:bodyPr/>
        <a:lstStyle/>
        <a:p>
          <a:endParaRPr lang="en-IN"/>
        </a:p>
      </dgm:t>
    </dgm:pt>
    <dgm:pt modelId="{76FD61A1-E986-4E21-B557-3536987149E0}">
      <dgm:prSet phldrT="[Text]"/>
      <dgm:spPr/>
      <dgm:t>
        <a:bodyPr/>
        <a:lstStyle/>
        <a:p>
          <a:r>
            <a:rPr lang="en-IN" dirty="0"/>
            <a:t>Pushing the app to GitHub and connecting to </a:t>
          </a:r>
          <a:r>
            <a:rPr lang="en-IN" dirty="0" err="1"/>
            <a:t>streamlit</a:t>
          </a:r>
          <a:endParaRPr lang="en-IN" dirty="0"/>
        </a:p>
      </dgm:t>
    </dgm:pt>
    <dgm:pt modelId="{7AB98C4E-36E3-45BD-998C-959C79C50358}" type="parTrans" cxnId="{ADBE4E97-7950-4E61-B720-1783DB0A3F84}">
      <dgm:prSet/>
      <dgm:spPr/>
      <dgm:t>
        <a:bodyPr/>
        <a:lstStyle/>
        <a:p>
          <a:endParaRPr lang="en-IN"/>
        </a:p>
      </dgm:t>
    </dgm:pt>
    <dgm:pt modelId="{EEE1DDF9-62AF-44CF-930E-9C1B7F80BC7F}" type="sibTrans" cxnId="{ADBE4E97-7950-4E61-B720-1783DB0A3F84}">
      <dgm:prSet/>
      <dgm:spPr/>
      <dgm:t>
        <a:bodyPr/>
        <a:lstStyle/>
        <a:p>
          <a:endParaRPr lang="en-IN"/>
        </a:p>
      </dgm:t>
    </dgm:pt>
    <dgm:pt modelId="{469372DC-5FCF-4355-9D49-658CD6D39D00}">
      <dgm:prSet phldrT="[Text]" phldr="1"/>
      <dgm:spPr/>
      <dgm:t>
        <a:bodyPr/>
        <a:lstStyle/>
        <a:p>
          <a:endParaRPr lang="en-IN"/>
        </a:p>
      </dgm:t>
    </dgm:pt>
    <dgm:pt modelId="{CDB4D8A0-1758-45C1-AF5C-C0A7673309CE}" type="parTrans" cxnId="{B7DFC97F-9E49-4F23-B9B8-5B00517DBFEC}">
      <dgm:prSet/>
      <dgm:spPr/>
      <dgm:t>
        <a:bodyPr/>
        <a:lstStyle/>
        <a:p>
          <a:endParaRPr lang="en-IN"/>
        </a:p>
      </dgm:t>
    </dgm:pt>
    <dgm:pt modelId="{0865DB65-BC09-4141-9C14-6DEFA070882D}" type="sibTrans" cxnId="{B7DFC97F-9E49-4F23-B9B8-5B00517DBFEC}">
      <dgm:prSet/>
      <dgm:spPr/>
      <dgm:t>
        <a:bodyPr/>
        <a:lstStyle/>
        <a:p>
          <a:endParaRPr lang="en-IN"/>
        </a:p>
      </dgm:t>
    </dgm:pt>
    <dgm:pt modelId="{05DCCF12-7E13-4D12-ABCE-A0BBA86EF2AA}">
      <dgm:prSet phldrT="[Text]" phldr="1"/>
      <dgm:spPr/>
      <dgm:t>
        <a:bodyPr/>
        <a:lstStyle/>
        <a:p>
          <a:endParaRPr lang="en-IN"/>
        </a:p>
      </dgm:t>
    </dgm:pt>
    <dgm:pt modelId="{321F36D4-79E0-4494-8F88-D0B8EBACB80A}" type="parTrans" cxnId="{14C7F2DB-6C25-4EA1-A401-C8E89B9B9E30}">
      <dgm:prSet/>
      <dgm:spPr/>
      <dgm:t>
        <a:bodyPr/>
        <a:lstStyle/>
        <a:p>
          <a:endParaRPr lang="en-IN"/>
        </a:p>
      </dgm:t>
    </dgm:pt>
    <dgm:pt modelId="{C12B9CD5-79E8-4D42-A19F-4266F8881673}" type="sibTrans" cxnId="{14C7F2DB-6C25-4EA1-A401-C8E89B9B9E30}">
      <dgm:prSet/>
      <dgm:spPr/>
      <dgm:t>
        <a:bodyPr/>
        <a:lstStyle/>
        <a:p>
          <a:endParaRPr lang="en-IN"/>
        </a:p>
      </dgm:t>
    </dgm:pt>
    <dgm:pt modelId="{C9064FED-64DF-40B5-8A02-C56C2EA2767D}">
      <dgm:prSet phldrT="[Text]" phldr="1"/>
      <dgm:spPr/>
      <dgm:t>
        <a:bodyPr/>
        <a:lstStyle/>
        <a:p>
          <a:endParaRPr lang="en-IN"/>
        </a:p>
      </dgm:t>
    </dgm:pt>
    <dgm:pt modelId="{5FAE48E7-3F72-4E4B-A4E4-BE8F3D55ACCE}" type="parTrans" cxnId="{447F10F0-F5C9-415A-B04D-41F8856BDB5A}">
      <dgm:prSet/>
      <dgm:spPr/>
      <dgm:t>
        <a:bodyPr/>
        <a:lstStyle/>
        <a:p>
          <a:endParaRPr lang="en-IN"/>
        </a:p>
      </dgm:t>
    </dgm:pt>
    <dgm:pt modelId="{D6BE4CE1-7DCF-4186-B961-B63C893EACE0}" type="sibTrans" cxnId="{447F10F0-F5C9-415A-B04D-41F8856BDB5A}">
      <dgm:prSet/>
      <dgm:spPr/>
      <dgm:t>
        <a:bodyPr/>
        <a:lstStyle/>
        <a:p>
          <a:endParaRPr lang="en-IN"/>
        </a:p>
      </dgm:t>
    </dgm:pt>
    <dgm:pt modelId="{E1D1868E-674E-4190-A604-DA927449DFD6}" type="pres">
      <dgm:prSet presAssocID="{0E27B975-8B1B-4538-980E-5E8A1E16E38A}" presName="Name0" presStyleCnt="0">
        <dgm:presLayoutVars>
          <dgm:dir/>
          <dgm:animLvl val="lvl"/>
          <dgm:resizeHandles val="exact"/>
        </dgm:presLayoutVars>
      </dgm:prSet>
      <dgm:spPr/>
    </dgm:pt>
    <dgm:pt modelId="{64236A91-F141-40C2-BF15-1843DE927D3E}" type="pres">
      <dgm:prSet presAssocID="{68F36723-C700-4A32-AD44-5133A8EF5207}" presName="composite" presStyleCnt="0"/>
      <dgm:spPr/>
    </dgm:pt>
    <dgm:pt modelId="{E4DEF8CB-0558-46C7-BD95-9012FFD784F3}" type="pres">
      <dgm:prSet presAssocID="{68F36723-C700-4A32-AD44-5133A8EF5207}" presName="parTx" presStyleLbl="alignNode1" presStyleIdx="0" presStyleCnt="3">
        <dgm:presLayoutVars>
          <dgm:chMax val="0"/>
          <dgm:chPref val="0"/>
          <dgm:bulletEnabled val="1"/>
        </dgm:presLayoutVars>
      </dgm:prSet>
      <dgm:spPr/>
    </dgm:pt>
    <dgm:pt modelId="{32F236AD-689D-4B21-BD50-74467CE87C38}" type="pres">
      <dgm:prSet presAssocID="{68F36723-C700-4A32-AD44-5133A8EF5207}" presName="desTx" presStyleLbl="alignAccFollowNode1" presStyleIdx="0" presStyleCnt="3">
        <dgm:presLayoutVars>
          <dgm:bulletEnabled val="1"/>
        </dgm:presLayoutVars>
      </dgm:prSet>
      <dgm:spPr/>
    </dgm:pt>
    <dgm:pt modelId="{BF957730-B19F-4FEB-ADD6-84923186B059}" type="pres">
      <dgm:prSet presAssocID="{323D800B-1ACF-4377-A723-94A38B706990}" presName="space" presStyleCnt="0"/>
      <dgm:spPr/>
    </dgm:pt>
    <dgm:pt modelId="{5FAFFE1A-D921-4F30-855A-790551723DFA}" type="pres">
      <dgm:prSet presAssocID="{8950936D-C9DE-4478-83BA-4474C67F226C}" presName="composite" presStyleCnt="0"/>
      <dgm:spPr/>
    </dgm:pt>
    <dgm:pt modelId="{0176FF65-1843-48F7-9526-0B70C85BCD7D}" type="pres">
      <dgm:prSet presAssocID="{8950936D-C9DE-4478-83BA-4474C67F226C}" presName="parTx" presStyleLbl="alignNode1" presStyleIdx="1" presStyleCnt="3">
        <dgm:presLayoutVars>
          <dgm:chMax val="0"/>
          <dgm:chPref val="0"/>
          <dgm:bulletEnabled val="1"/>
        </dgm:presLayoutVars>
      </dgm:prSet>
      <dgm:spPr/>
    </dgm:pt>
    <dgm:pt modelId="{25B60CF2-47D3-49B5-A24E-0931A59D1112}" type="pres">
      <dgm:prSet presAssocID="{8950936D-C9DE-4478-83BA-4474C67F226C}" presName="desTx" presStyleLbl="alignAccFollowNode1" presStyleIdx="1" presStyleCnt="3">
        <dgm:presLayoutVars>
          <dgm:bulletEnabled val="1"/>
        </dgm:presLayoutVars>
      </dgm:prSet>
      <dgm:spPr/>
    </dgm:pt>
    <dgm:pt modelId="{58FF4FF2-B5B7-4127-B7E7-3B9966F0A9AF}" type="pres">
      <dgm:prSet presAssocID="{48F726ED-192E-4091-AC6B-6C8FCB356B60}" presName="space" presStyleCnt="0"/>
      <dgm:spPr/>
    </dgm:pt>
    <dgm:pt modelId="{A88531D7-A623-4316-B971-E3F9E20CAAD8}" type="pres">
      <dgm:prSet presAssocID="{469372DC-5FCF-4355-9D49-658CD6D39D00}" presName="composite" presStyleCnt="0"/>
      <dgm:spPr/>
    </dgm:pt>
    <dgm:pt modelId="{D02DC143-DCC8-4F23-928D-3B66784F5254}" type="pres">
      <dgm:prSet presAssocID="{469372DC-5FCF-4355-9D49-658CD6D39D00}" presName="parTx" presStyleLbl="alignNode1" presStyleIdx="2" presStyleCnt="3" custLinFactNeighborX="1417" custLinFactNeighborY="-5603">
        <dgm:presLayoutVars>
          <dgm:chMax val="0"/>
          <dgm:chPref val="0"/>
          <dgm:bulletEnabled val="1"/>
        </dgm:presLayoutVars>
      </dgm:prSet>
      <dgm:spPr/>
    </dgm:pt>
    <dgm:pt modelId="{563418EE-2D62-4BDA-84FF-D4BFA17582FB}" type="pres">
      <dgm:prSet presAssocID="{469372DC-5FCF-4355-9D49-658CD6D39D00}" presName="desTx" presStyleLbl="alignAccFollowNode1" presStyleIdx="2" presStyleCnt="3">
        <dgm:presLayoutVars>
          <dgm:bulletEnabled val="1"/>
        </dgm:presLayoutVars>
      </dgm:prSet>
      <dgm:spPr/>
    </dgm:pt>
  </dgm:ptLst>
  <dgm:cxnLst>
    <dgm:cxn modelId="{6EBBAF10-0D19-4417-8A58-6168BBF7CD5E}" type="presOf" srcId="{05DCCF12-7E13-4D12-ABCE-A0BBA86EF2AA}" destId="{563418EE-2D62-4BDA-84FF-D4BFA17582FB}" srcOrd="0" destOrd="0" presId="urn:microsoft.com/office/officeart/2005/8/layout/hList1"/>
    <dgm:cxn modelId="{FC542221-1E9C-4D7D-890E-B86C259D42DA}" type="presOf" srcId="{8950936D-C9DE-4478-83BA-4474C67F226C}" destId="{0176FF65-1843-48F7-9526-0B70C85BCD7D}" srcOrd="0" destOrd="0" presId="urn:microsoft.com/office/officeart/2005/8/layout/hList1"/>
    <dgm:cxn modelId="{1C991822-BE18-4110-AE9B-85867B069E8F}" srcId="{0E27B975-8B1B-4538-980E-5E8A1E16E38A}" destId="{68F36723-C700-4A32-AD44-5133A8EF5207}" srcOrd="0" destOrd="0" parTransId="{05746D1B-9687-49C8-BDFB-247643031BE1}" sibTransId="{323D800B-1ACF-4377-A723-94A38B706990}"/>
    <dgm:cxn modelId="{B7DFC97F-9E49-4F23-B9B8-5B00517DBFEC}" srcId="{0E27B975-8B1B-4538-980E-5E8A1E16E38A}" destId="{469372DC-5FCF-4355-9D49-658CD6D39D00}" srcOrd="2" destOrd="0" parTransId="{CDB4D8A0-1758-45C1-AF5C-C0A7673309CE}" sibTransId="{0865DB65-BC09-4141-9C14-6DEFA070882D}"/>
    <dgm:cxn modelId="{EB1AB286-41E8-4514-8AE7-2979540E6EE2}" type="presOf" srcId="{32086BF2-E22F-48E8-855C-F7400057B64B}" destId="{32F236AD-689D-4B21-BD50-74467CE87C38}" srcOrd="0" destOrd="0" presId="urn:microsoft.com/office/officeart/2005/8/layout/hList1"/>
    <dgm:cxn modelId="{ADBE4E97-7950-4E61-B720-1783DB0A3F84}" srcId="{8950936D-C9DE-4478-83BA-4474C67F226C}" destId="{76FD61A1-E986-4E21-B557-3536987149E0}" srcOrd="0" destOrd="0" parTransId="{7AB98C4E-36E3-45BD-998C-959C79C50358}" sibTransId="{EEE1DDF9-62AF-44CF-930E-9C1B7F80BC7F}"/>
    <dgm:cxn modelId="{4BAB6BA0-9B8F-426A-9815-82A27F80C309}" srcId="{0E27B975-8B1B-4538-980E-5E8A1E16E38A}" destId="{8950936D-C9DE-4478-83BA-4474C67F226C}" srcOrd="1" destOrd="0" parTransId="{CB9FBF65-AF4C-4884-8C78-D1EF93976C14}" sibTransId="{48F726ED-192E-4091-AC6B-6C8FCB356B60}"/>
    <dgm:cxn modelId="{8ACD56A0-7CEE-4B0F-85DE-E26D5AA738A0}" type="presOf" srcId="{76FD61A1-E986-4E21-B557-3536987149E0}" destId="{25B60CF2-47D3-49B5-A24E-0931A59D1112}" srcOrd="0" destOrd="0" presId="urn:microsoft.com/office/officeart/2005/8/layout/hList1"/>
    <dgm:cxn modelId="{BC3363AF-529E-4752-9C3D-DF8FB80512B5}" srcId="{68F36723-C700-4A32-AD44-5133A8EF5207}" destId="{32086BF2-E22F-48E8-855C-F7400057B64B}" srcOrd="0" destOrd="0" parTransId="{4D17F817-7072-401B-A179-D439A91047FF}" sibTransId="{271BE85A-3E2E-4C4A-89E9-09CA722263FA}"/>
    <dgm:cxn modelId="{9429B1C1-13AB-4203-AC51-6D002FFEA1C7}" type="presOf" srcId="{469372DC-5FCF-4355-9D49-658CD6D39D00}" destId="{D02DC143-DCC8-4F23-928D-3B66784F5254}" srcOrd="0" destOrd="0" presId="urn:microsoft.com/office/officeart/2005/8/layout/hList1"/>
    <dgm:cxn modelId="{DA8CC1D6-321F-444E-93F1-14C6203B7DD1}" type="presOf" srcId="{0E27B975-8B1B-4538-980E-5E8A1E16E38A}" destId="{E1D1868E-674E-4190-A604-DA927449DFD6}" srcOrd="0" destOrd="0" presId="urn:microsoft.com/office/officeart/2005/8/layout/hList1"/>
    <dgm:cxn modelId="{9723F6D9-63B9-436E-979C-9AF48CF6E6E0}" type="presOf" srcId="{C9064FED-64DF-40B5-8A02-C56C2EA2767D}" destId="{563418EE-2D62-4BDA-84FF-D4BFA17582FB}" srcOrd="0" destOrd="1" presId="urn:microsoft.com/office/officeart/2005/8/layout/hList1"/>
    <dgm:cxn modelId="{14C7F2DB-6C25-4EA1-A401-C8E89B9B9E30}" srcId="{469372DC-5FCF-4355-9D49-658CD6D39D00}" destId="{05DCCF12-7E13-4D12-ABCE-A0BBA86EF2AA}" srcOrd="0" destOrd="0" parTransId="{321F36D4-79E0-4494-8F88-D0B8EBACB80A}" sibTransId="{C12B9CD5-79E8-4D42-A19F-4266F8881673}"/>
    <dgm:cxn modelId="{7DCFE6EB-34A9-4DA5-A006-8DA0DBF05DA0}" type="presOf" srcId="{68F36723-C700-4A32-AD44-5133A8EF5207}" destId="{E4DEF8CB-0558-46C7-BD95-9012FFD784F3}" srcOrd="0" destOrd="0" presId="urn:microsoft.com/office/officeart/2005/8/layout/hList1"/>
    <dgm:cxn modelId="{447F10F0-F5C9-415A-B04D-41F8856BDB5A}" srcId="{469372DC-5FCF-4355-9D49-658CD6D39D00}" destId="{C9064FED-64DF-40B5-8A02-C56C2EA2767D}" srcOrd="1" destOrd="0" parTransId="{5FAE48E7-3F72-4E4B-A4E4-BE8F3D55ACCE}" sibTransId="{D6BE4CE1-7DCF-4186-B961-B63C893EACE0}"/>
    <dgm:cxn modelId="{7B80C92C-97F8-426C-B4FA-1A46BB073944}" type="presParOf" srcId="{E1D1868E-674E-4190-A604-DA927449DFD6}" destId="{64236A91-F141-40C2-BF15-1843DE927D3E}" srcOrd="0" destOrd="0" presId="urn:microsoft.com/office/officeart/2005/8/layout/hList1"/>
    <dgm:cxn modelId="{E4CE1087-6452-48F3-8206-EB67D7982CC7}" type="presParOf" srcId="{64236A91-F141-40C2-BF15-1843DE927D3E}" destId="{E4DEF8CB-0558-46C7-BD95-9012FFD784F3}" srcOrd="0" destOrd="0" presId="urn:microsoft.com/office/officeart/2005/8/layout/hList1"/>
    <dgm:cxn modelId="{BAD79384-F838-41AD-AA3E-A012A41AC6C9}" type="presParOf" srcId="{64236A91-F141-40C2-BF15-1843DE927D3E}" destId="{32F236AD-689D-4B21-BD50-74467CE87C38}" srcOrd="1" destOrd="0" presId="urn:microsoft.com/office/officeart/2005/8/layout/hList1"/>
    <dgm:cxn modelId="{3AD7C6EB-45F6-4E64-A33A-2F487F498473}" type="presParOf" srcId="{E1D1868E-674E-4190-A604-DA927449DFD6}" destId="{BF957730-B19F-4FEB-ADD6-84923186B059}" srcOrd="1" destOrd="0" presId="urn:microsoft.com/office/officeart/2005/8/layout/hList1"/>
    <dgm:cxn modelId="{0928B859-659D-41E2-9A0F-2AD6E26B6407}" type="presParOf" srcId="{E1D1868E-674E-4190-A604-DA927449DFD6}" destId="{5FAFFE1A-D921-4F30-855A-790551723DFA}" srcOrd="2" destOrd="0" presId="urn:microsoft.com/office/officeart/2005/8/layout/hList1"/>
    <dgm:cxn modelId="{512F148C-B482-49C4-880D-D758096EC2DF}" type="presParOf" srcId="{5FAFFE1A-D921-4F30-855A-790551723DFA}" destId="{0176FF65-1843-48F7-9526-0B70C85BCD7D}" srcOrd="0" destOrd="0" presId="urn:microsoft.com/office/officeart/2005/8/layout/hList1"/>
    <dgm:cxn modelId="{034620BE-B60C-4686-8C04-BDA0B2B206DB}" type="presParOf" srcId="{5FAFFE1A-D921-4F30-855A-790551723DFA}" destId="{25B60CF2-47D3-49B5-A24E-0931A59D1112}" srcOrd="1" destOrd="0" presId="urn:microsoft.com/office/officeart/2005/8/layout/hList1"/>
    <dgm:cxn modelId="{2A03B106-3829-452F-A184-C4827076E043}" type="presParOf" srcId="{E1D1868E-674E-4190-A604-DA927449DFD6}" destId="{58FF4FF2-B5B7-4127-B7E7-3B9966F0A9AF}" srcOrd="3" destOrd="0" presId="urn:microsoft.com/office/officeart/2005/8/layout/hList1"/>
    <dgm:cxn modelId="{FDB75D75-AC12-4012-A8E0-70CEB34EFEAC}" type="presParOf" srcId="{E1D1868E-674E-4190-A604-DA927449DFD6}" destId="{A88531D7-A623-4316-B971-E3F9E20CAAD8}" srcOrd="4" destOrd="0" presId="urn:microsoft.com/office/officeart/2005/8/layout/hList1"/>
    <dgm:cxn modelId="{DE7676AA-4DB0-4D5A-937F-FD33EC554567}" type="presParOf" srcId="{A88531D7-A623-4316-B971-E3F9E20CAAD8}" destId="{D02DC143-DCC8-4F23-928D-3B66784F5254}" srcOrd="0" destOrd="0" presId="urn:microsoft.com/office/officeart/2005/8/layout/hList1"/>
    <dgm:cxn modelId="{6217D446-0496-499F-81AB-3DEAB26B4B77}" type="presParOf" srcId="{A88531D7-A623-4316-B971-E3F9E20CAAD8}" destId="{563418EE-2D62-4BDA-84FF-D4BFA17582F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9AE7AB7-F6A0-43C4-BB0D-D86011B5253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60B3F59E-8AE0-4992-B769-B8EA3E46D674}">
      <dgm:prSet phldrT="[Text]" custT="1"/>
      <dgm:spPr/>
      <dgm:t>
        <a:bodyPr/>
        <a:lstStyle/>
        <a:p>
          <a:r>
            <a:rPr lang="en-IN" sz="2000" dirty="0"/>
            <a:t>Advanced Analytics – To integrate more sophisticated features such as trend analysis to offer deep insights</a:t>
          </a:r>
        </a:p>
      </dgm:t>
    </dgm:pt>
    <dgm:pt modelId="{DE277CC2-E903-4EEF-9C82-52647E2E92AD}" type="parTrans" cxnId="{DB63A7A6-157A-4013-B94B-9EB919C2A267}">
      <dgm:prSet/>
      <dgm:spPr/>
      <dgm:t>
        <a:bodyPr/>
        <a:lstStyle/>
        <a:p>
          <a:endParaRPr lang="en-IN"/>
        </a:p>
      </dgm:t>
    </dgm:pt>
    <dgm:pt modelId="{93759E9C-E45E-4221-8752-A0874C5AC718}" type="sibTrans" cxnId="{DB63A7A6-157A-4013-B94B-9EB919C2A267}">
      <dgm:prSet/>
      <dgm:spPr/>
      <dgm:t>
        <a:bodyPr/>
        <a:lstStyle/>
        <a:p>
          <a:endParaRPr lang="en-IN"/>
        </a:p>
      </dgm:t>
    </dgm:pt>
    <dgm:pt modelId="{E295AA07-066D-444E-B5AC-8F7D3D42D2FA}">
      <dgm:prSet phldrT="[Text]" custT="1"/>
      <dgm:spPr/>
      <dgm:t>
        <a:bodyPr/>
        <a:lstStyle/>
        <a:p>
          <a:r>
            <a:rPr lang="en-IN" sz="2000" dirty="0"/>
            <a:t>Multi-platform support- extend support to additional platforms, such as mobile apps or integration with voice assistants.</a:t>
          </a:r>
        </a:p>
      </dgm:t>
    </dgm:pt>
    <dgm:pt modelId="{3BF17B8C-0AE5-4B56-878B-A1191D19E0DF}" type="parTrans" cxnId="{99413061-D24C-4521-BED8-6174BF5DF411}">
      <dgm:prSet/>
      <dgm:spPr/>
      <dgm:t>
        <a:bodyPr/>
        <a:lstStyle/>
        <a:p>
          <a:endParaRPr lang="en-IN"/>
        </a:p>
      </dgm:t>
    </dgm:pt>
    <dgm:pt modelId="{0466DB56-54E8-4B93-96AC-603ECCAD5114}" type="sibTrans" cxnId="{99413061-D24C-4521-BED8-6174BF5DF411}">
      <dgm:prSet/>
      <dgm:spPr/>
      <dgm:t>
        <a:bodyPr/>
        <a:lstStyle/>
        <a:p>
          <a:endParaRPr lang="en-IN"/>
        </a:p>
      </dgm:t>
    </dgm:pt>
    <dgm:pt modelId="{A5742FCB-99E6-47C5-A364-F61F8B7A6610}">
      <dgm:prSet phldrT="[Text]" custT="1"/>
      <dgm:spPr/>
      <dgm:t>
        <a:bodyPr/>
        <a:lstStyle/>
        <a:p>
          <a:r>
            <a:rPr lang="en-IN" sz="2000" dirty="0"/>
            <a:t>Market expansion- explore opportunities to enter new markets or industry segments by adapting the solution to meet specific needs and regulations</a:t>
          </a:r>
        </a:p>
      </dgm:t>
    </dgm:pt>
    <dgm:pt modelId="{42EEE963-26AF-4218-A8D1-E65CDEF39C0E}" type="sibTrans" cxnId="{82ADA2F7-266A-491F-9D09-CD3FD06B383E}">
      <dgm:prSet/>
      <dgm:spPr/>
      <dgm:t>
        <a:bodyPr/>
        <a:lstStyle/>
        <a:p>
          <a:endParaRPr lang="en-IN"/>
        </a:p>
      </dgm:t>
    </dgm:pt>
    <dgm:pt modelId="{B7ABA2C8-0BEF-453D-9CC5-088EAE01F17B}" type="parTrans" cxnId="{82ADA2F7-266A-491F-9D09-CD3FD06B383E}">
      <dgm:prSet/>
      <dgm:spPr/>
      <dgm:t>
        <a:bodyPr/>
        <a:lstStyle/>
        <a:p>
          <a:endParaRPr lang="en-IN"/>
        </a:p>
      </dgm:t>
    </dgm:pt>
    <dgm:pt modelId="{5C395EE4-7408-4612-B128-1321266909A5}">
      <dgm:prSet phldrT="[Text]" custT="1"/>
      <dgm:spPr/>
      <dgm:t>
        <a:bodyPr/>
        <a:lstStyle/>
        <a:p>
          <a:r>
            <a:rPr lang="en-IN" sz="2000" dirty="0"/>
            <a:t>Innovation</a:t>
          </a:r>
          <a:r>
            <a:rPr lang="en-IN" sz="2000" baseline="0" dirty="0"/>
            <a:t> and R&amp;D- Invest in research and development to stay ahead of technological advancements and incorporate innovative solutions.  </a:t>
          </a:r>
          <a:endParaRPr lang="en-IN" sz="2000" dirty="0"/>
        </a:p>
      </dgm:t>
    </dgm:pt>
    <dgm:pt modelId="{8DCF9813-3FE3-415F-BC78-990E9C26F1EC}" type="parTrans" cxnId="{BE1832D7-5534-4FE8-BE8E-FB627B8A978E}">
      <dgm:prSet/>
      <dgm:spPr/>
      <dgm:t>
        <a:bodyPr/>
        <a:lstStyle/>
        <a:p>
          <a:endParaRPr lang="en-IN"/>
        </a:p>
      </dgm:t>
    </dgm:pt>
    <dgm:pt modelId="{DE3A8C33-27E7-40BC-AB80-6271F2FA4EAF}" type="sibTrans" cxnId="{BE1832D7-5534-4FE8-BE8E-FB627B8A978E}">
      <dgm:prSet/>
      <dgm:spPr/>
      <dgm:t>
        <a:bodyPr/>
        <a:lstStyle/>
        <a:p>
          <a:endParaRPr lang="en-IN"/>
        </a:p>
      </dgm:t>
    </dgm:pt>
    <dgm:pt modelId="{06ACDF27-B679-452D-A237-B4FF0D337C58}" type="pres">
      <dgm:prSet presAssocID="{C9AE7AB7-F6A0-43C4-BB0D-D86011B5253F}" presName="linear" presStyleCnt="0">
        <dgm:presLayoutVars>
          <dgm:dir/>
          <dgm:animLvl val="lvl"/>
          <dgm:resizeHandles val="exact"/>
        </dgm:presLayoutVars>
      </dgm:prSet>
      <dgm:spPr/>
    </dgm:pt>
    <dgm:pt modelId="{D1574814-B61A-4B2C-A2FB-54CDD6BE77E2}" type="pres">
      <dgm:prSet presAssocID="{60B3F59E-8AE0-4992-B769-B8EA3E46D674}" presName="parentLin" presStyleCnt="0"/>
      <dgm:spPr/>
    </dgm:pt>
    <dgm:pt modelId="{26A6C2E4-DB21-4238-8BD9-DE0AB4F5E2B9}" type="pres">
      <dgm:prSet presAssocID="{60B3F59E-8AE0-4992-B769-B8EA3E46D674}" presName="parentLeftMargin" presStyleLbl="node1" presStyleIdx="0" presStyleCnt="4"/>
      <dgm:spPr/>
    </dgm:pt>
    <dgm:pt modelId="{5A6984B9-5EF7-490C-9C7F-E9DE0AA1872F}" type="pres">
      <dgm:prSet presAssocID="{60B3F59E-8AE0-4992-B769-B8EA3E46D674}" presName="parentText" presStyleLbl="node1" presStyleIdx="0" presStyleCnt="4" custScaleX="106887" custScaleY="220634">
        <dgm:presLayoutVars>
          <dgm:chMax val="0"/>
          <dgm:bulletEnabled val="1"/>
        </dgm:presLayoutVars>
      </dgm:prSet>
      <dgm:spPr/>
    </dgm:pt>
    <dgm:pt modelId="{9F8E0BE6-1676-4BE5-A4F4-639D78A540AE}" type="pres">
      <dgm:prSet presAssocID="{60B3F59E-8AE0-4992-B769-B8EA3E46D674}" presName="negativeSpace" presStyleCnt="0"/>
      <dgm:spPr/>
    </dgm:pt>
    <dgm:pt modelId="{C04D6A4C-425E-4430-9987-9FD1D58FA9CE}" type="pres">
      <dgm:prSet presAssocID="{60B3F59E-8AE0-4992-B769-B8EA3E46D674}" presName="childText" presStyleLbl="conFgAcc1" presStyleIdx="0" presStyleCnt="4">
        <dgm:presLayoutVars>
          <dgm:bulletEnabled val="1"/>
        </dgm:presLayoutVars>
      </dgm:prSet>
      <dgm:spPr/>
    </dgm:pt>
    <dgm:pt modelId="{CD4E5459-5E9D-4BB9-BF2B-3FC8FB094177}" type="pres">
      <dgm:prSet presAssocID="{93759E9C-E45E-4221-8752-A0874C5AC718}" presName="spaceBetweenRectangles" presStyleCnt="0"/>
      <dgm:spPr/>
    </dgm:pt>
    <dgm:pt modelId="{C3126A3B-7E6F-4484-8751-339A0E6B805B}" type="pres">
      <dgm:prSet presAssocID="{E295AA07-066D-444E-B5AC-8F7D3D42D2FA}" presName="parentLin" presStyleCnt="0"/>
      <dgm:spPr/>
    </dgm:pt>
    <dgm:pt modelId="{0AFC87BC-0776-4BDF-AB33-A64611006FD7}" type="pres">
      <dgm:prSet presAssocID="{E295AA07-066D-444E-B5AC-8F7D3D42D2FA}" presName="parentLeftMargin" presStyleLbl="node1" presStyleIdx="0" presStyleCnt="4"/>
      <dgm:spPr/>
    </dgm:pt>
    <dgm:pt modelId="{C35C483C-359D-454C-88B4-18081CDF47B6}" type="pres">
      <dgm:prSet presAssocID="{E295AA07-066D-444E-B5AC-8F7D3D42D2FA}" presName="parentText" presStyleLbl="node1" presStyleIdx="1" presStyleCnt="4" custScaleX="114826" custScaleY="222785">
        <dgm:presLayoutVars>
          <dgm:chMax val="0"/>
          <dgm:bulletEnabled val="1"/>
        </dgm:presLayoutVars>
      </dgm:prSet>
      <dgm:spPr/>
    </dgm:pt>
    <dgm:pt modelId="{A22A4604-C7CE-43D5-9BAB-A0E74CEC832F}" type="pres">
      <dgm:prSet presAssocID="{E295AA07-066D-444E-B5AC-8F7D3D42D2FA}" presName="negativeSpace" presStyleCnt="0"/>
      <dgm:spPr/>
    </dgm:pt>
    <dgm:pt modelId="{497420D4-016C-4B63-B9D9-BE4A04355091}" type="pres">
      <dgm:prSet presAssocID="{E295AA07-066D-444E-B5AC-8F7D3D42D2FA}" presName="childText" presStyleLbl="conFgAcc1" presStyleIdx="1" presStyleCnt="4">
        <dgm:presLayoutVars>
          <dgm:bulletEnabled val="1"/>
        </dgm:presLayoutVars>
      </dgm:prSet>
      <dgm:spPr/>
    </dgm:pt>
    <dgm:pt modelId="{A1FC9500-01F8-4E5B-AF01-1394F9CCE29D}" type="pres">
      <dgm:prSet presAssocID="{0466DB56-54E8-4B93-96AC-603ECCAD5114}" presName="spaceBetweenRectangles" presStyleCnt="0"/>
      <dgm:spPr/>
    </dgm:pt>
    <dgm:pt modelId="{4C4DD970-7FD7-4506-AF83-C872164BB3AB}" type="pres">
      <dgm:prSet presAssocID="{A5742FCB-99E6-47C5-A364-F61F8B7A6610}" presName="parentLin" presStyleCnt="0"/>
      <dgm:spPr/>
    </dgm:pt>
    <dgm:pt modelId="{16B24920-CE76-4646-B5C6-E50BA0843216}" type="pres">
      <dgm:prSet presAssocID="{A5742FCB-99E6-47C5-A364-F61F8B7A6610}" presName="parentLeftMargin" presStyleLbl="node1" presStyleIdx="1" presStyleCnt="4"/>
      <dgm:spPr/>
    </dgm:pt>
    <dgm:pt modelId="{96CF8E99-EFE7-4E7F-85AA-88B5F02B078B}" type="pres">
      <dgm:prSet presAssocID="{A5742FCB-99E6-47C5-A364-F61F8B7A6610}" presName="parentText" presStyleLbl="node1" presStyleIdx="2" presStyleCnt="4" custScaleX="119196" custScaleY="234759">
        <dgm:presLayoutVars>
          <dgm:chMax val="0"/>
          <dgm:bulletEnabled val="1"/>
        </dgm:presLayoutVars>
      </dgm:prSet>
      <dgm:spPr/>
    </dgm:pt>
    <dgm:pt modelId="{B44883B3-D9D7-4791-83DF-0E3FEB2D002B}" type="pres">
      <dgm:prSet presAssocID="{A5742FCB-99E6-47C5-A364-F61F8B7A6610}" presName="negativeSpace" presStyleCnt="0"/>
      <dgm:spPr/>
    </dgm:pt>
    <dgm:pt modelId="{01776C4E-5806-42C5-B45A-840E2721FF62}" type="pres">
      <dgm:prSet presAssocID="{A5742FCB-99E6-47C5-A364-F61F8B7A6610}" presName="childText" presStyleLbl="conFgAcc1" presStyleIdx="2" presStyleCnt="4">
        <dgm:presLayoutVars>
          <dgm:bulletEnabled val="1"/>
        </dgm:presLayoutVars>
      </dgm:prSet>
      <dgm:spPr/>
    </dgm:pt>
    <dgm:pt modelId="{25B4698E-19E4-49BA-AD8F-439BF5916E97}" type="pres">
      <dgm:prSet presAssocID="{42EEE963-26AF-4218-A8D1-E65CDEF39C0E}" presName="spaceBetweenRectangles" presStyleCnt="0"/>
      <dgm:spPr/>
    </dgm:pt>
    <dgm:pt modelId="{7E4CAF4A-BBF4-4EA7-AA15-D19AF276FEE8}" type="pres">
      <dgm:prSet presAssocID="{5C395EE4-7408-4612-B128-1321266909A5}" presName="parentLin" presStyleCnt="0"/>
      <dgm:spPr/>
    </dgm:pt>
    <dgm:pt modelId="{8057EF83-9A45-4BA2-93C7-163A74D640FF}" type="pres">
      <dgm:prSet presAssocID="{5C395EE4-7408-4612-B128-1321266909A5}" presName="parentLeftMargin" presStyleLbl="node1" presStyleIdx="2" presStyleCnt="4" custScaleX="119196" custScaleY="234759"/>
      <dgm:spPr/>
    </dgm:pt>
    <dgm:pt modelId="{B154533B-8DBD-4DE1-9E1A-9A39D495A738}" type="pres">
      <dgm:prSet presAssocID="{5C395EE4-7408-4612-B128-1321266909A5}" presName="parentText" presStyleLbl="node1" presStyleIdx="3" presStyleCnt="4" custScaleX="128169" custScaleY="240072" custLinFactNeighborX="-8309" custLinFactNeighborY="-2281">
        <dgm:presLayoutVars>
          <dgm:chMax val="0"/>
          <dgm:bulletEnabled val="1"/>
        </dgm:presLayoutVars>
      </dgm:prSet>
      <dgm:spPr/>
    </dgm:pt>
    <dgm:pt modelId="{D65F2CDD-BAD7-4E7F-8AC1-7D8251FEB76C}" type="pres">
      <dgm:prSet presAssocID="{5C395EE4-7408-4612-B128-1321266909A5}" presName="negativeSpace" presStyleCnt="0"/>
      <dgm:spPr/>
    </dgm:pt>
    <dgm:pt modelId="{86E4CA4F-BC69-4D24-BB93-C24C69161AF9}" type="pres">
      <dgm:prSet presAssocID="{5C395EE4-7408-4612-B128-1321266909A5}" presName="childText" presStyleLbl="conFgAcc1" presStyleIdx="3" presStyleCnt="4">
        <dgm:presLayoutVars>
          <dgm:bulletEnabled val="1"/>
        </dgm:presLayoutVars>
      </dgm:prSet>
      <dgm:spPr/>
    </dgm:pt>
  </dgm:ptLst>
  <dgm:cxnLst>
    <dgm:cxn modelId="{2116850F-D081-421D-AF4F-F6C75925EE44}" type="presOf" srcId="{C9AE7AB7-F6A0-43C4-BB0D-D86011B5253F}" destId="{06ACDF27-B679-452D-A237-B4FF0D337C58}" srcOrd="0" destOrd="0" presId="urn:microsoft.com/office/officeart/2005/8/layout/list1"/>
    <dgm:cxn modelId="{21243F3D-0FF4-483B-A71E-CA05FBFC2604}" type="presOf" srcId="{E295AA07-066D-444E-B5AC-8F7D3D42D2FA}" destId="{C35C483C-359D-454C-88B4-18081CDF47B6}" srcOrd="1" destOrd="0" presId="urn:microsoft.com/office/officeart/2005/8/layout/list1"/>
    <dgm:cxn modelId="{99413061-D24C-4521-BED8-6174BF5DF411}" srcId="{C9AE7AB7-F6A0-43C4-BB0D-D86011B5253F}" destId="{E295AA07-066D-444E-B5AC-8F7D3D42D2FA}" srcOrd="1" destOrd="0" parTransId="{3BF17B8C-0AE5-4B56-878B-A1191D19E0DF}" sibTransId="{0466DB56-54E8-4B93-96AC-603ECCAD5114}"/>
    <dgm:cxn modelId="{F734B465-452B-4EB6-9F66-792A13BB716C}" type="presOf" srcId="{5C395EE4-7408-4612-B128-1321266909A5}" destId="{8057EF83-9A45-4BA2-93C7-163A74D640FF}" srcOrd="0" destOrd="0" presId="urn:microsoft.com/office/officeart/2005/8/layout/list1"/>
    <dgm:cxn modelId="{FA0C8279-5D65-4EA1-9BC9-BE4EBC7713F4}" type="presOf" srcId="{A5742FCB-99E6-47C5-A364-F61F8B7A6610}" destId="{96CF8E99-EFE7-4E7F-85AA-88B5F02B078B}" srcOrd="1" destOrd="0" presId="urn:microsoft.com/office/officeart/2005/8/layout/list1"/>
    <dgm:cxn modelId="{F4277B85-6211-40D8-B9D4-DDED1FAFF13B}" type="presOf" srcId="{60B3F59E-8AE0-4992-B769-B8EA3E46D674}" destId="{5A6984B9-5EF7-490C-9C7F-E9DE0AA1872F}" srcOrd="1" destOrd="0" presId="urn:microsoft.com/office/officeart/2005/8/layout/list1"/>
    <dgm:cxn modelId="{3D9EC697-8E59-4EE0-A019-C2D3064B47B8}" type="presOf" srcId="{A5742FCB-99E6-47C5-A364-F61F8B7A6610}" destId="{16B24920-CE76-4646-B5C6-E50BA0843216}" srcOrd="0" destOrd="0" presId="urn:microsoft.com/office/officeart/2005/8/layout/list1"/>
    <dgm:cxn modelId="{DB63A7A6-157A-4013-B94B-9EB919C2A267}" srcId="{C9AE7AB7-F6A0-43C4-BB0D-D86011B5253F}" destId="{60B3F59E-8AE0-4992-B769-B8EA3E46D674}" srcOrd="0" destOrd="0" parTransId="{DE277CC2-E903-4EEF-9C82-52647E2E92AD}" sibTransId="{93759E9C-E45E-4221-8752-A0874C5AC718}"/>
    <dgm:cxn modelId="{EE627FB0-51BB-42CF-96CC-F7D6CC206034}" type="presOf" srcId="{60B3F59E-8AE0-4992-B769-B8EA3E46D674}" destId="{26A6C2E4-DB21-4238-8BD9-DE0AB4F5E2B9}" srcOrd="0" destOrd="0" presId="urn:microsoft.com/office/officeart/2005/8/layout/list1"/>
    <dgm:cxn modelId="{27E90CC6-6A7A-426C-A2E6-447E62FBC25C}" type="presOf" srcId="{E295AA07-066D-444E-B5AC-8F7D3D42D2FA}" destId="{0AFC87BC-0776-4BDF-AB33-A64611006FD7}" srcOrd="0" destOrd="0" presId="urn:microsoft.com/office/officeart/2005/8/layout/list1"/>
    <dgm:cxn modelId="{BE1832D7-5534-4FE8-BE8E-FB627B8A978E}" srcId="{C9AE7AB7-F6A0-43C4-BB0D-D86011B5253F}" destId="{5C395EE4-7408-4612-B128-1321266909A5}" srcOrd="3" destOrd="0" parTransId="{8DCF9813-3FE3-415F-BC78-990E9C26F1EC}" sibTransId="{DE3A8C33-27E7-40BC-AB80-6271F2FA4EAF}"/>
    <dgm:cxn modelId="{692302EF-7CD5-4D27-970B-4C8C98DA201E}" type="presOf" srcId="{5C395EE4-7408-4612-B128-1321266909A5}" destId="{B154533B-8DBD-4DE1-9E1A-9A39D495A738}" srcOrd="1" destOrd="0" presId="urn:microsoft.com/office/officeart/2005/8/layout/list1"/>
    <dgm:cxn modelId="{82ADA2F7-266A-491F-9D09-CD3FD06B383E}" srcId="{C9AE7AB7-F6A0-43C4-BB0D-D86011B5253F}" destId="{A5742FCB-99E6-47C5-A364-F61F8B7A6610}" srcOrd="2" destOrd="0" parTransId="{B7ABA2C8-0BEF-453D-9CC5-088EAE01F17B}" sibTransId="{42EEE963-26AF-4218-A8D1-E65CDEF39C0E}"/>
    <dgm:cxn modelId="{99927F0F-3A71-47C2-B4A3-88096458E183}" type="presParOf" srcId="{06ACDF27-B679-452D-A237-B4FF0D337C58}" destId="{D1574814-B61A-4B2C-A2FB-54CDD6BE77E2}" srcOrd="0" destOrd="0" presId="urn:microsoft.com/office/officeart/2005/8/layout/list1"/>
    <dgm:cxn modelId="{6E5F12C7-11B3-4FAC-92AB-6FDE8DD72907}" type="presParOf" srcId="{D1574814-B61A-4B2C-A2FB-54CDD6BE77E2}" destId="{26A6C2E4-DB21-4238-8BD9-DE0AB4F5E2B9}" srcOrd="0" destOrd="0" presId="urn:microsoft.com/office/officeart/2005/8/layout/list1"/>
    <dgm:cxn modelId="{FA9148CB-42F4-412A-924E-E57AB4719028}" type="presParOf" srcId="{D1574814-B61A-4B2C-A2FB-54CDD6BE77E2}" destId="{5A6984B9-5EF7-490C-9C7F-E9DE0AA1872F}" srcOrd="1" destOrd="0" presId="urn:microsoft.com/office/officeart/2005/8/layout/list1"/>
    <dgm:cxn modelId="{4D654AE3-3DE9-4192-9A94-E59C4694154B}" type="presParOf" srcId="{06ACDF27-B679-452D-A237-B4FF0D337C58}" destId="{9F8E0BE6-1676-4BE5-A4F4-639D78A540AE}" srcOrd="1" destOrd="0" presId="urn:microsoft.com/office/officeart/2005/8/layout/list1"/>
    <dgm:cxn modelId="{75195213-35C3-4F7A-9863-60D93EFBB596}" type="presParOf" srcId="{06ACDF27-B679-452D-A237-B4FF0D337C58}" destId="{C04D6A4C-425E-4430-9987-9FD1D58FA9CE}" srcOrd="2" destOrd="0" presId="urn:microsoft.com/office/officeart/2005/8/layout/list1"/>
    <dgm:cxn modelId="{5C49AB57-7D5C-4C40-8F9A-9528E99839E2}" type="presParOf" srcId="{06ACDF27-B679-452D-A237-B4FF0D337C58}" destId="{CD4E5459-5E9D-4BB9-BF2B-3FC8FB094177}" srcOrd="3" destOrd="0" presId="urn:microsoft.com/office/officeart/2005/8/layout/list1"/>
    <dgm:cxn modelId="{8CA5C91B-3BAF-4C3D-9562-FBFBBDA16F7F}" type="presParOf" srcId="{06ACDF27-B679-452D-A237-B4FF0D337C58}" destId="{C3126A3B-7E6F-4484-8751-339A0E6B805B}" srcOrd="4" destOrd="0" presId="urn:microsoft.com/office/officeart/2005/8/layout/list1"/>
    <dgm:cxn modelId="{97F227B4-4529-43C6-9AC6-3E8EBFD7FA1D}" type="presParOf" srcId="{C3126A3B-7E6F-4484-8751-339A0E6B805B}" destId="{0AFC87BC-0776-4BDF-AB33-A64611006FD7}" srcOrd="0" destOrd="0" presId="urn:microsoft.com/office/officeart/2005/8/layout/list1"/>
    <dgm:cxn modelId="{54F929E7-5DBC-4F18-8840-9AA5F1C6F083}" type="presParOf" srcId="{C3126A3B-7E6F-4484-8751-339A0E6B805B}" destId="{C35C483C-359D-454C-88B4-18081CDF47B6}" srcOrd="1" destOrd="0" presId="urn:microsoft.com/office/officeart/2005/8/layout/list1"/>
    <dgm:cxn modelId="{A7F99453-1DBE-4077-902A-5B5662D3CF74}" type="presParOf" srcId="{06ACDF27-B679-452D-A237-B4FF0D337C58}" destId="{A22A4604-C7CE-43D5-9BAB-A0E74CEC832F}" srcOrd="5" destOrd="0" presId="urn:microsoft.com/office/officeart/2005/8/layout/list1"/>
    <dgm:cxn modelId="{92ADEEF5-CEE9-4808-8B9F-7277F2204713}" type="presParOf" srcId="{06ACDF27-B679-452D-A237-B4FF0D337C58}" destId="{497420D4-016C-4B63-B9D9-BE4A04355091}" srcOrd="6" destOrd="0" presId="urn:microsoft.com/office/officeart/2005/8/layout/list1"/>
    <dgm:cxn modelId="{697AB4B1-85BA-4355-B51A-E512416FD6C5}" type="presParOf" srcId="{06ACDF27-B679-452D-A237-B4FF0D337C58}" destId="{A1FC9500-01F8-4E5B-AF01-1394F9CCE29D}" srcOrd="7" destOrd="0" presId="urn:microsoft.com/office/officeart/2005/8/layout/list1"/>
    <dgm:cxn modelId="{77BCFE08-7766-410D-9B0E-66C23587DB3B}" type="presParOf" srcId="{06ACDF27-B679-452D-A237-B4FF0D337C58}" destId="{4C4DD970-7FD7-4506-AF83-C872164BB3AB}" srcOrd="8" destOrd="0" presId="urn:microsoft.com/office/officeart/2005/8/layout/list1"/>
    <dgm:cxn modelId="{3DF7E554-F436-4721-9E77-6487E7CDCCB5}" type="presParOf" srcId="{4C4DD970-7FD7-4506-AF83-C872164BB3AB}" destId="{16B24920-CE76-4646-B5C6-E50BA0843216}" srcOrd="0" destOrd="0" presId="urn:microsoft.com/office/officeart/2005/8/layout/list1"/>
    <dgm:cxn modelId="{46D66736-3560-4E6C-A697-0C62269DE961}" type="presParOf" srcId="{4C4DD970-7FD7-4506-AF83-C872164BB3AB}" destId="{96CF8E99-EFE7-4E7F-85AA-88B5F02B078B}" srcOrd="1" destOrd="0" presId="urn:microsoft.com/office/officeart/2005/8/layout/list1"/>
    <dgm:cxn modelId="{EE70F5A0-76DE-4C73-9479-434B2873BD6F}" type="presParOf" srcId="{06ACDF27-B679-452D-A237-B4FF0D337C58}" destId="{B44883B3-D9D7-4791-83DF-0E3FEB2D002B}" srcOrd="9" destOrd="0" presId="urn:microsoft.com/office/officeart/2005/8/layout/list1"/>
    <dgm:cxn modelId="{40D44EB4-F33D-4E46-A35F-5D140451625E}" type="presParOf" srcId="{06ACDF27-B679-452D-A237-B4FF0D337C58}" destId="{01776C4E-5806-42C5-B45A-840E2721FF62}" srcOrd="10" destOrd="0" presId="urn:microsoft.com/office/officeart/2005/8/layout/list1"/>
    <dgm:cxn modelId="{6A95CBA0-C923-4D46-B00E-06E90DCF2755}" type="presParOf" srcId="{06ACDF27-B679-452D-A237-B4FF0D337C58}" destId="{25B4698E-19E4-49BA-AD8F-439BF5916E97}" srcOrd="11" destOrd="0" presId="urn:microsoft.com/office/officeart/2005/8/layout/list1"/>
    <dgm:cxn modelId="{D1C436BE-CD4D-48D1-BBAE-C2A62DF4A878}" type="presParOf" srcId="{06ACDF27-B679-452D-A237-B4FF0D337C58}" destId="{7E4CAF4A-BBF4-4EA7-AA15-D19AF276FEE8}" srcOrd="12" destOrd="0" presId="urn:microsoft.com/office/officeart/2005/8/layout/list1"/>
    <dgm:cxn modelId="{65B9DEDF-65F6-4F83-8F54-436AAD9ABABC}" type="presParOf" srcId="{7E4CAF4A-BBF4-4EA7-AA15-D19AF276FEE8}" destId="{8057EF83-9A45-4BA2-93C7-163A74D640FF}" srcOrd="0" destOrd="0" presId="urn:microsoft.com/office/officeart/2005/8/layout/list1"/>
    <dgm:cxn modelId="{53057765-0DB1-41B6-A7DB-B1A22B4E27A0}" type="presParOf" srcId="{7E4CAF4A-BBF4-4EA7-AA15-D19AF276FEE8}" destId="{B154533B-8DBD-4DE1-9E1A-9A39D495A738}" srcOrd="1" destOrd="0" presId="urn:microsoft.com/office/officeart/2005/8/layout/list1"/>
    <dgm:cxn modelId="{628AF691-EDD9-409E-976D-2DF433601778}" type="presParOf" srcId="{06ACDF27-B679-452D-A237-B4FF0D337C58}" destId="{D65F2CDD-BAD7-4E7F-8AC1-7D8251FEB76C}" srcOrd="13" destOrd="0" presId="urn:microsoft.com/office/officeart/2005/8/layout/list1"/>
    <dgm:cxn modelId="{F7190593-2909-467C-A395-809D1E1F989B}" type="presParOf" srcId="{06ACDF27-B679-452D-A237-B4FF0D337C58}" destId="{86E4CA4F-BC69-4D24-BB93-C24C69161AF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0859391-ABF8-4E04-B336-8844ACAC15D6}" type="doc">
      <dgm:prSet loTypeId="urn:microsoft.com/office/officeart/2005/8/layout/hProcess9" loCatId="process" qsTypeId="urn:microsoft.com/office/officeart/2005/8/quickstyle/simple1" qsCatId="simple" csTypeId="urn:microsoft.com/office/officeart/2005/8/colors/accent1_2" csCatId="accent1" phldr="1"/>
      <dgm:spPr/>
    </dgm:pt>
    <dgm:pt modelId="{ACE9B554-BD99-48D3-9526-B17BF33FD0E9}">
      <dgm:prSet phldrT="[Text]"/>
      <dgm:spPr/>
      <dgm:t>
        <a:bodyPr/>
        <a:lstStyle/>
        <a:p>
          <a:r>
            <a:rPr lang="en-IN" dirty="0"/>
            <a:t>Data collection</a:t>
          </a:r>
        </a:p>
      </dgm:t>
    </dgm:pt>
    <dgm:pt modelId="{776E4529-9A0C-4F29-A0D6-A64D1AB6330C}" type="parTrans" cxnId="{643C4ABB-C89E-4298-824A-15CFAEF2367F}">
      <dgm:prSet/>
      <dgm:spPr/>
      <dgm:t>
        <a:bodyPr/>
        <a:lstStyle/>
        <a:p>
          <a:endParaRPr lang="en-IN"/>
        </a:p>
      </dgm:t>
    </dgm:pt>
    <dgm:pt modelId="{24673DF8-D8C6-4601-A6E0-D46F56BDEBF3}" type="sibTrans" cxnId="{643C4ABB-C89E-4298-824A-15CFAEF2367F}">
      <dgm:prSet/>
      <dgm:spPr/>
      <dgm:t>
        <a:bodyPr/>
        <a:lstStyle/>
        <a:p>
          <a:endParaRPr lang="en-IN"/>
        </a:p>
      </dgm:t>
    </dgm:pt>
    <dgm:pt modelId="{509911F6-65CE-4872-9022-4FC376B831B8}">
      <dgm:prSet phldrT="[Text]"/>
      <dgm:spPr/>
      <dgm:t>
        <a:bodyPr/>
        <a:lstStyle/>
        <a:p>
          <a:r>
            <a:rPr lang="en-IN" dirty="0"/>
            <a:t>Data preprocessing  </a:t>
          </a:r>
        </a:p>
      </dgm:t>
    </dgm:pt>
    <dgm:pt modelId="{AFB7DD39-362B-4A23-8167-BB7F35DD01EA}" type="parTrans" cxnId="{C642A9FA-900E-4A6C-A2C9-C1C26F0643C8}">
      <dgm:prSet/>
      <dgm:spPr/>
      <dgm:t>
        <a:bodyPr/>
        <a:lstStyle/>
        <a:p>
          <a:endParaRPr lang="en-IN"/>
        </a:p>
      </dgm:t>
    </dgm:pt>
    <dgm:pt modelId="{2981F63B-9EA9-4B38-B5CF-00653C7360C7}" type="sibTrans" cxnId="{C642A9FA-900E-4A6C-A2C9-C1C26F0643C8}">
      <dgm:prSet/>
      <dgm:spPr/>
      <dgm:t>
        <a:bodyPr/>
        <a:lstStyle/>
        <a:p>
          <a:endParaRPr lang="en-IN"/>
        </a:p>
      </dgm:t>
    </dgm:pt>
    <dgm:pt modelId="{8FCB09B1-10D3-489A-9413-F8161D89FB34}">
      <dgm:prSet phldrT="[Text]"/>
      <dgm:spPr/>
      <dgm:t>
        <a:bodyPr/>
        <a:lstStyle/>
        <a:p>
          <a:r>
            <a:rPr lang="en-IN" dirty="0"/>
            <a:t>Model evaluation  </a:t>
          </a:r>
        </a:p>
      </dgm:t>
    </dgm:pt>
    <dgm:pt modelId="{358BA261-3FD7-460A-BA09-445C111B01E3}" type="parTrans" cxnId="{8D60B0A5-5A7A-4412-B236-4ABE8C062613}">
      <dgm:prSet/>
      <dgm:spPr/>
      <dgm:t>
        <a:bodyPr/>
        <a:lstStyle/>
        <a:p>
          <a:endParaRPr lang="en-IN"/>
        </a:p>
      </dgm:t>
    </dgm:pt>
    <dgm:pt modelId="{CD2660E0-8143-4E0A-8CD8-E003AFF7E004}" type="sibTrans" cxnId="{8D60B0A5-5A7A-4412-B236-4ABE8C062613}">
      <dgm:prSet/>
      <dgm:spPr/>
      <dgm:t>
        <a:bodyPr/>
        <a:lstStyle/>
        <a:p>
          <a:endParaRPr lang="en-IN"/>
        </a:p>
      </dgm:t>
    </dgm:pt>
    <dgm:pt modelId="{978EB8C1-046D-4F85-BBB6-9955EB4EC291}">
      <dgm:prSet phldrT="[Text]"/>
      <dgm:spPr/>
      <dgm:t>
        <a:bodyPr/>
        <a:lstStyle/>
        <a:p>
          <a:r>
            <a:rPr lang="en-IN" dirty="0"/>
            <a:t>Model training </a:t>
          </a:r>
        </a:p>
      </dgm:t>
    </dgm:pt>
    <dgm:pt modelId="{82B45093-ECB1-48D7-8FF5-08850332F07F}" type="parTrans" cxnId="{25FD2A57-FEC2-42AB-A0B3-5ADB45143CB3}">
      <dgm:prSet/>
      <dgm:spPr/>
      <dgm:t>
        <a:bodyPr/>
        <a:lstStyle/>
        <a:p>
          <a:endParaRPr lang="en-IN"/>
        </a:p>
      </dgm:t>
    </dgm:pt>
    <dgm:pt modelId="{23F47123-4915-4116-8789-D75CB46E0968}" type="sibTrans" cxnId="{25FD2A57-FEC2-42AB-A0B3-5ADB45143CB3}">
      <dgm:prSet/>
      <dgm:spPr/>
      <dgm:t>
        <a:bodyPr/>
        <a:lstStyle/>
        <a:p>
          <a:endParaRPr lang="en-IN"/>
        </a:p>
      </dgm:t>
    </dgm:pt>
    <dgm:pt modelId="{E059B08B-5DCE-43A2-A050-954460B47A16}" type="pres">
      <dgm:prSet presAssocID="{20859391-ABF8-4E04-B336-8844ACAC15D6}" presName="CompostProcess" presStyleCnt="0">
        <dgm:presLayoutVars>
          <dgm:dir/>
          <dgm:resizeHandles val="exact"/>
        </dgm:presLayoutVars>
      </dgm:prSet>
      <dgm:spPr/>
    </dgm:pt>
    <dgm:pt modelId="{6A1A205C-2B0D-4C7C-B9AF-50573FDB321D}" type="pres">
      <dgm:prSet presAssocID="{20859391-ABF8-4E04-B336-8844ACAC15D6}" presName="arrow" presStyleLbl="bgShp" presStyleIdx="0" presStyleCnt="1"/>
      <dgm:spPr/>
    </dgm:pt>
    <dgm:pt modelId="{9861BBC7-38B0-40B0-895B-221B7280297C}" type="pres">
      <dgm:prSet presAssocID="{20859391-ABF8-4E04-B336-8844ACAC15D6}" presName="linearProcess" presStyleCnt="0"/>
      <dgm:spPr/>
    </dgm:pt>
    <dgm:pt modelId="{18B77B7A-8A1B-4AD1-B403-250E52EDA0A7}" type="pres">
      <dgm:prSet presAssocID="{ACE9B554-BD99-48D3-9526-B17BF33FD0E9}" presName="textNode" presStyleLbl="node1" presStyleIdx="0" presStyleCnt="4">
        <dgm:presLayoutVars>
          <dgm:bulletEnabled val="1"/>
        </dgm:presLayoutVars>
      </dgm:prSet>
      <dgm:spPr/>
    </dgm:pt>
    <dgm:pt modelId="{B57553A8-23AB-4F4C-A145-D8CA314E9F8B}" type="pres">
      <dgm:prSet presAssocID="{24673DF8-D8C6-4601-A6E0-D46F56BDEBF3}" presName="sibTrans" presStyleCnt="0"/>
      <dgm:spPr/>
    </dgm:pt>
    <dgm:pt modelId="{AA3D576F-7160-4415-B5AC-4A010EDA3B9C}" type="pres">
      <dgm:prSet presAssocID="{509911F6-65CE-4872-9022-4FC376B831B8}" presName="textNode" presStyleLbl="node1" presStyleIdx="1" presStyleCnt="4">
        <dgm:presLayoutVars>
          <dgm:bulletEnabled val="1"/>
        </dgm:presLayoutVars>
      </dgm:prSet>
      <dgm:spPr/>
    </dgm:pt>
    <dgm:pt modelId="{1FB76E17-5222-43C8-B514-6A51FAC4511A}" type="pres">
      <dgm:prSet presAssocID="{2981F63B-9EA9-4B38-B5CF-00653C7360C7}" presName="sibTrans" presStyleCnt="0"/>
      <dgm:spPr/>
    </dgm:pt>
    <dgm:pt modelId="{B20DABB3-F05D-489F-8717-74868B78903D}" type="pres">
      <dgm:prSet presAssocID="{978EB8C1-046D-4F85-BBB6-9955EB4EC291}" presName="textNode" presStyleLbl="node1" presStyleIdx="2" presStyleCnt="4">
        <dgm:presLayoutVars>
          <dgm:bulletEnabled val="1"/>
        </dgm:presLayoutVars>
      </dgm:prSet>
      <dgm:spPr/>
    </dgm:pt>
    <dgm:pt modelId="{4A5EAF87-8F57-407A-A753-CA8DD2000036}" type="pres">
      <dgm:prSet presAssocID="{23F47123-4915-4116-8789-D75CB46E0968}" presName="sibTrans" presStyleCnt="0"/>
      <dgm:spPr/>
    </dgm:pt>
    <dgm:pt modelId="{F3660B7D-DE92-47B0-976C-B56539FF7865}" type="pres">
      <dgm:prSet presAssocID="{8FCB09B1-10D3-489A-9413-F8161D89FB34}" presName="textNode" presStyleLbl="node1" presStyleIdx="3" presStyleCnt="4">
        <dgm:presLayoutVars>
          <dgm:bulletEnabled val="1"/>
        </dgm:presLayoutVars>
      </dgm:prSet>
      <dgm:spPr/>
    </dgm:pt>
  </dgm:ptLst>
  <dgm:cxnLst>
    <dgm:cxn modelId="{D1724E0C-CBC0-44CA-A1FE-A050185275AC}" type="presOf" srcId="{8FCB09B1-10D3-489A-9413-F8161D89FB34}" destId="{F3660B7D-DE92-47B0-976C-B56539FF7865}" srcOrd="0" destOrd="0" presId="urn:microsoft.com/office/officeart/2005/8/layout/hProcess9"/>
    <dgm:cxn modelId="{0195662D-B59F-4D8A-A8F5-A26035E78872}" type="presOf" srcId="{20859391-ABF8-4E04-B336-8844ACAC15D6}" destId="{E059B08B-5DCE-43A2-A050-954460B47A16}" srcOrd="0" destOrd="0" presId="urn:microsoft.com/office/officeart/2005/8/layout/hProcess9"/>
    <dgm:cxn modelId="{25FD2A57-FEC2-42AB-A0B3-5ADB45143CB3}" srcId="{20859391-ABF8-4E04-B336-8844ACAC15D6}" destId="{978EB8C1-046D-4F85-BBB6-9955EB4EC291}" srcOrd="2" destOrd="0" parTransId="{82B45093-ECB1-48D7-8FF5-08850332F07F}" sibTransId="{23F47123-4915-4116-8789-D75CB46E0968}"/>
    <dgm:cxn modelId="{6E40D4A1-C1A3-43AF-BB47-BD1BC808983A}" type="presOf" srcId="{509911F6-65CE-4872-9022-4FC376B831B8}" destId="{AA3D576F-7160-4415-B5AC-4A010EDA3B9C}" srcOrd="0" destOrd="0" presId="urn:microsoft.com/office/officeart/2005/8/layout/hProcess9"/>
    <dgm:cxn modelId="{8D60B0A5-5A7A-4412-B236-4ABE8C062613}" srcId="{20859391-ABF8-4E04-B336-8844ACAC15D6}" destId="{8FCB09B1-10D3-489A-9413-F8161D89FB34}" srcOrd="3" destOrd="0" parTransId="{358BA261-3FD7-460A-BA09-445C111B01E3}" sibTransId="{CD2660E0-8143-4E0A-8CD8-E003AFF7E004}"/>
    <dgm:cxn modelId="{59F737B5-ABFF-4716-B8F5-9D94FA371D89}" type="presOf" srcId="{ACE9B554-BD99-48D3-9526-B17BF33FD0E9}" destId="{18B77B7A-8A1B-4AD1-B403-250E52EDA0A7}" srcOrd="0" destOrd="0" presId="urn:microsoft.com/office/officeart/2005/8/layout/hProcess9"/>
    <dgm:cxn modelId="{643C4ABB-C89E-4298-824A-15CFAEF2367F}" srcId="{20859391-ABF8-4E04-B336-8844ACAC15D6}" destId="{ACE9B554-BD99-48D3-9526-B17BF33FD0E9}" srcOrd="0" destOrd="0" parTransId="{776E4529-9A0C-4F29-A0D6-A64D1AB6330C}" sibTransId="{24673DF8-D8C6-4601-A6E0-D46F56BDEBF3}"/>
    <dgm:cxn modelId="{B76C7CEE-7239-41FB-B311-7441237B1933}" type="presOf" srcId="{978EB8C1-046D-4F85-BBB6-9955EB4EC291}" destId="{B20DABB3-F05D-489F-8717-74868B78903D}" srcOrd="0" destOrd="0" presId="urn:microsoft.com/office/officeart/2005/8/layout/hProcess9"/>
    <dgm:cxn modelId="{C642A9FA-900E-4A6C-A2C9-C1C26F0643C8}" srcId="{20859391-ABF8-4E04-B336-8844ACAC15D6}" destId="{509911F6-65CE-4872-9022-4FC376B831B8}" srcOrd="1" destOrd="0" parTransId="{AFB7DD39-362B-4A23-8167-BB7F35DD01EA}" sibTransId="{2981F63B-9EA9-4B38-B5CF-00653C7360C7}"/>
    <dgm:cxn modelId="{DE8A3B82-0824-4EA7-8445-940FD359435F}" type="presParOf" srcId="{E059B08B-5DCE-43A2-A050-954460B47A16}" destId="{6A1A205C-2B0D-4C7C-B9AF-50573FDB321D}" srcOrd="0" destOrd="0" presId="urn:microsoft.com/office/officeart/2005/8/layout/hProcess9"/>
    <dgm:cxn modelId="{E3C82F31-6133-4BFB-97E8-1C8B4C635B1B}" type="presParOf" srcId="{E059B08B-5DCE-43A2-A050-954460B47A16}" destId="{9861BBC7-38B0-40B0-895B-221B7280297C}" srcOrd="1" destOrd="0" presId="urn:microsoft.com/office/officeart/2005/8/layout/hProcess9"/>
    <dgm:cxn modelId="{844C9756-26BB-4844-805D-7267017F58B2}" type="presParOf" srcId="{9861BBC7-38B0-40B0-895B-221B7280297C}" destId="{18B77B7A-8A1B-4AD1-B403-250E52EDA0A7}" srcOrd="0" destOrd="0" presId="urn:microsoft.com/office/officeart/2005/8/layout/hProcess9"/>
    <dgm:cxn modelId="{E10F2D42-D1AB-4316-B8F7-9485EF73DD1D}" type="presParOf" srcId="{9861BBC7-38B0-40B0-895B-221B7280297C}" destId="{B57553A8-23AB-4F4C-A145-D8CA314E9F8B}" srcOrd="1" destOrd="0" presId="urn:microsoft.com/office/officeart/2005/8/layout/hProcess9"/>
    <dgm:cxn modelId="{52E5F767-ACA5-4366-8D8D-5D9A309F3B8C}" type="presParOf" srcId="{9861BBC7-38B0-40B0-895B-221B7280297C}" destId="{AA3D576F-7160-4415-B5AC-4A010EDA3B9C}" srcOrd="2" destOrd="0" presId="urn:microsoft.com/office/officeart/2005/8/layout/hProcess9"/>
    <dgm:cxn modelId="{A8B38C5B-3391-4428-AB9C-CFA29C94C172}" type="presParOf" srcId="{9861BBC7-38B0-40B0-895B-221B7280297C}" destId="{1FB76E17-5222-43C8-B514-6A51FAC4511A}" srcOrd="3" destOrd="0" presId="urn:microsoft.com/office/officeart/2005/8/layout/hProcess9"/>
    <dgm:cxn modelId="{F0BCE07A-D9C2-4D78-B165-36A984A5FE6E}" type="presParOf" srcId="{9861BBC7-38B0-40B0-895B-221B7280297C}" destId="{B20DABB3-F05D-489F-8717-74868B78903D}" srcOrd="4" destOrd="0" presId="urn:microsoft.com/office/officeart/2005/8/layout/hProcess9"/>
    <dgm:cxn modelId="{5DAA1E49-253C-4AD7-8D23-91EEDAE7A613}" type="presParOf" srcId="{9861BBC7-38B0-40B0-895B-221B7280297C}" destId="{4A5EAF87-8F57-407A-A753-CA8DD2000036}" srcOrd="5" destOrd="0" presId="urn:microsoft.com/office/officeart/2005/8/layout/hProcess9"/>
    <dgm:cxn modelId="{70360AFF-FDCB-413E-8F00-E1A811265E4A}" type="presParOf" srcId="{9861BBC7-38B0-40B0-895B-221B7280297C}" destId="{F3660B7D-DE92-47B0-976C-B56539FF7865}"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1D6A1-11CD-4068-8BD4-E1A732D1952B}">
      <dsp:nvSpPr>
        <dsp:cNvPr id="0" name=""/>
        <dsp:cNvSpPr/>
      </dsp:nvSpPr>
      <dsp:spPr>
        <a:xfrm>
          <a:off x="5983" y="65858"/>
          <a:ext cx="282822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Exploration</a:t>
          </a:r>
          <a:endParaRPr lang="en-IN" sz="1800" b="1" kern="1200" dirty="0"/>
        </a:p>
      </dsp:txBody>
      <dsp:txXfrm>
        <a:off x="5983" y="65858"/>
        <a:ext cx="2828221" cy="518400"/>
      </dsp:txXfrm>
    </dsp:sp>
    <dsp:sp modelId="{3D223AFC-2EBA-4DEA-ACF0-22C0C72A64BE}">
      <dsp:nvSpPr>
        <dsp:cNvPr id="0" name=""/>
        <dsp:cNvSpPr/>
      </dsp:nvSpPr>
      <dsp:spPr>
        <a:xfrm>
          <a:off x="2003" y="584258"/>
          <a:ext cx="2836180"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 defTabSz="800100">
            <a:lnSpc>
              <a:spcPct val="90000"/>
            </a:lnSpc>
            <a:spcBef>
              <a:spcPct val="0"/>
            </a:spcBef>
            <a:spcAft>
              <a:spcPct val="15000"/>
            </a:spcAft>
            <a:buChar char="•"/>
          </a:pPr>
          <a:r>
            <a:rPr lang="en-US" sz="1800" kern="1200" dirty="0"/>
            <a:t>Examined the first few rows, summary statistics, and data types.</a:t>
          </a:r>
          <a:endParaRPr lang="en-IN" sz="1800" kern="1200" dirty="0"/>
        </a:p>
        <a:p>
          <a:pPr marL="171450" lvl="1" indent="-171450" algn="just" defTabSz="800100">
            <a:lnSpc>
              <a:spcPct val="90000"/>
            </a:lnSpc>
            <a:spcBef>
              <a:spcPct val="0"/>
            </a:spcBef>
            <a:spcAft>
              <a:spcPct val="15000"/>
            </a:spcAft>
            <a:buChar char="•"/>
          </a:pPr>
          <a:r>
            <a:rPr lang="en-US" sz="1800" kern="1200" dirty="0"/>
            <a:t>Checked for missing values</a:t>
          </a:r>
          <a:endParaRPr lang="en-IN" sz="1800" kern="1200" dirty="0"/>
        </a:p>
        <a:p>
          <a:pPr marL="171450" lvl="1" indent="-171450" algn="just" defTabSz="800100">
            <a:lnSpc>
              <a:spcPct val="90000"/>
            </a:lnSpc>
            <a:spcBef>
              <a:spcPct val="0"/>
            </a:spcBef>
            <a:spcAft>
              <a:spcPct val="15000"/>
            </a:spcAft>
            <a:buChar char="•"/>
          </a:pPr>
          <a:r>
            <a:rPr lang="en-US" sz="1800" kern="1200" dirty="0"/>
            <a:t>Analyzed distributions of key variables, such as </a:t>
          </a:r>
          <a:r>
            <a:rPr lang="en-US" sz="1800" kern="1200" dirty="0" err="1"/>
            <a:t>DeviceType</a:t>
          </a:r>
          <a:r>
            <a:rPr lang="en-US" sz="1800" kern="1200" dirty="0"/>
            <a:t> and </a:t>
          </a:r>
          <a:r>
            <a:rPr lang="en-US" sz="1800" kern="1200" dirty="0" err="1"/>
            <a:t>UsageHoursPerDay</a:t>
          </a:r>
          <a:r>
            <a:rPr lang="en-US" sz="1800" kern="1200" dirty="0"/>
            <a:t>.</a:t>
          </a:r>
          <a:endParaRPr lang="en-IN" sz="1800" kern="1200" dirty="0"/>
        </a:p>
      </dsp:txBody>
      <dsp:txXfrm>
        <a:off x="2003" y="584258"/>
        <a:ext cx="2836180" cy="3043246"/>
      </dsp:txXfrm>
    </dsp:sp>
    <dsp:sp modelId="{67B19E24-B723-48DC-B640-43429A84723C}">
      <dsp:nvSpPr>
        <dsp:cNvPr id="0" name=""/>
        <dsp:cNvSpPr/>
      </dsp:nvSpPr>
      <dsp:spPr>
        <a:xfrm>
          <a:off x="3182079"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IN" sz="1800" b="1" kern="1200" dirty="0"/>
            <a:t>Data Cleaning</a:t>
          </a:r>
        </a:p>
      </dsp:txBody>
      <dsp:txXfrm>
        <a:off x="3182079" y="65858"/>
        <a:ext cx="2456396" cy="518400"/>
      </dsp:txXfrm>
    </dsp:sp>
    <dsp:sp modelId="{211938FD-4188-47A2-83FD-586905BDCD5B}">
      <dsp:nvSpPr>
        <dsp:cNvPr id="0" name=""/>
        <dsp:cNvSpPr/>
      </dsp:nvSpPr>
      <dsp:spPr>
        <a:xfrm>
          <a:off x="3182079"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IN" sz="1800" kern="1200" dirty="0"/>
            <a:t>Dropped irrelevant columns like user id .</a:t>
          </a:r>
        </a:p>
        <a:p>
          <a:pPr marL="171450" lvl="1" indent="-171450" algn="l" defTabSz="800100">
            <a:lnSpc>
              <a:spcPct val="90000"/>
            </a:lnSpc>
            <a:spcBef>
              <a:spcPct val="0"/>
            </a:spcBef>
            <a:spcAft>
              <a:spcPct val="15000"/>
            </a:spcAft>
            <a:buChar char="•"/>
          </a:pPr>
          <a:endParaRPr lang="en-IN" sz="1800" kern="1200" dirty="0"/>
        </a:p>
      </dsp:txBody>
      <dsp:txXfrm>
        <a:off x="3182079" y="584258"/>
        <a:ext cx="2456396" cy="3043246"/>
      </dsp:txXfrm>
    </dsp:sp>
    <dsp:sp modelId="{3615B173-DC68-4815-91EB-4D908F351DB7}">
      <dsp:nvSpPr>
        <dsp:cNvPr id="0" name=""/>
        <dsp:cNvSpPr/>
      </dsp:nvSpPr>
      <dsp:spPr>
        <a:xfrm>
          <a:off x="5982371"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Pre-Processing</a:t>
          </a:r>
          <a:endParaRPr lang="en-IN" sz="1800" b="1" kern="1200" dirty="0"/>
        </a:p>
      </dsp:txBody>
      <dsp:txXfrm>
        <a:off x="5982371" y="65858"/>
        <a:ext cx="2456396" cy="518400"/>
      </dsp:txXfrm>
    </dsp:sp>
    <dsp:sp modelId="{93DD3026-4235-43A6-A006-754051FE3B63}">
      <dsp:nvSpPr>
        <dsp:cNvPr id="0" name=""/>
        <dsp:cNvSpPr/>
      </dsp:nvSpPr>
      <dsp:spPr>
        <a:xfrm>
          <a:off x="5982371"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pplied </a:t>
          </a:r>
          <a:r>
            <a:rPr lang="en-US" sz="1800" b="1" kern="1200" dirty="0" err="1"/>
            <a:t>StandardScale</a:t>
          </a:r>
          <a:r>
            <a:rPr lang="en-US" sz="1800" kern="1200" dirty="0" err="1"/>
            <a:t>r</a:t>
          </a:r>
          <a:r>
            <a:rPr lang="en-US" sz="1800" kern="1200" dirty="0"/>
            <a:t> to numerical features and </a:t>
          </a:r>
          <a:r>
            <a:rPr lang="en-US" sz="1800" b="1" kern="1200" dirty="0" err="1"/>
            <a:t>OneHotEncoder</a:t>
          </a:r>
          <a:r>
            <a:rPr lang="en-US" sz="1800" kern="1200" dirty="0"/>
            <a:t> to categorical features to standardize and encode the data.</a:t>
          </a:r>
          <a:endParaRPr lang="en-IN" sz="1800" kern="1200" dirty="0"/>
        </a:p>
      </dsp:txBody>
      <dsp:txXfrm>
        <a:off x="5982371" y="584258"/>
        <a:ext cx="2456396" cy="30432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CEB00C-A711-41C9-B2B7-EAE0DBD37B93}">
      <dsp:nvSpPr>
        <dsp:cNvPr id="0" name=""/>
        <dsp:cNvSpPr/>
      </dsp:nvSpPr>
      <dsp:spPr>
        <a:xfrm>
          <a:off x="104199" y="1215"/>
          <a:ext cx="2499726" cy="1499836"/>
        </a:xfrm>
        <a:prstGeom prst="rect">
          <a:avLst/>
        </a:prstGeom>
        <a:solidFill>
          <a:schemeClr val="accent3">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Enhanced Decision making</a:t>
          </a:r>
        </a:p>
      </dsp:txBody>
      <dsp:txXfrm>
        <a:off x="104199" y="1215"/>
        <a:ext cx="2499726" cy="1499836"/>
      </dsp:txXfrm>
    </dsp:sp>
    <dsp:sp modelId="{9E84094B-2DBF-45A8-A3FF-E4CD3050944B}">
      <dsp:nvSpPr>
        <dsp:cNvPr id="0" name=""/>
        <dsp:cNvSpPr/>
      </dsp:nvSpPr>
      <dsp:spPr>
        <a:xfrm>
          <a:off x="2853899" y="1215"/>
          <a:ext cx="2499726" cy="1499836"/>
        </a:xfrm>
        <a:prstGeom prst="rect">
          <a:avLst/>
        </a:prstGeom>
        <a:solidFill>
          <a:schemeClr val="accent3">
            <a:hueOff val="142856"/>
            <a:satOff val="-16031"/>
            <a:lumOff val="2745"/>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Improved accuracy and efficiency</a:t>
          </a:r>
        </a:p>
      </dsp:txBody>
      <dsp:txXfrm>
        <a:off x="2853899" y="1215"/>
        <a:ext cx="2499726" cy="1499836"/>
      </dsp:txXfrm>
    </dsp:sp>
    <dsp:sp modelId="{2C6CC9DF-AF82-4B79-A8E1-F263216267A8}">
      <dsp:nvSpPr>
        <dsp:cNvPr id="0" name=""/>
        <dsp:cNvSpPr/>
      </dsp:nvSpPr>
      <dsp:spPr>
        <a:xfrm>
          <a:off x="104199" y="1751024"/>
          <a:ext cx="2499726" cy="1499836"/>
        </a:xfrm>
        <a:prstGeom prst="rect">
          <a:avLst/>
        </a:prstGeom>
        <a:solidFill>
          <a:schemeClr val="accent3">
            <a:hueOff val="285712"/>
            <a:satOff val="-32061"/>
            <a:lumOff val="5491"/>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Competitive advantage </a:t>
          </a:r>
        </a:p>
      </dsp:txBody>
      <dsp:txXfrm>
        <a:off x="104199" y="1751024"/>
        <a:ext cx="2499726" cy="1499836"/>
      </dsp:txXfrm>
    </dsp:sp>
    <dsp:sp modelId="{6710F827-12F9-487A-8197-38C1A54806D7}">
      <dsp:nvSpPr>
        <dsp:cNvPr id="0" name=""/>
        <dsp:cNvSpPr/>
      </dsp:nvSpPr>
      <dsp:spPr>
        <a:xfrm>
          <a:off x="2853899" y="1751024"/>
          <a:ext cx="2499726" cy="1499836"/>
        </a:xfrm>
        <a:prstGeom prst="rect">
          <a:avLst/>
        </a:prstGeom>
        <a:solidFill>
          <a:schemeClr val="accent3">
            <a:hueOff val="428568"/>
            <a:satOff val="-48092"/>
            <a:lumOff val="8236"/>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Convenience</a:t>
          </a:r>
        </a:p>
      </dsp:txBody>
      <dsp:txXfrm>
        <a:off x="2853899" y="1751024"/>
        <a:ext cx="2499726" cy="14998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52FF2-0AEF-4966-AE7B-E74AE04E441A}">
      <dsp:nvSpPr>
        <dsp:cNvPr id="0" name=""/>
        <dsp:cNvSpPr/>
      </dsp:nvSpPr>
      <dsp:spPr>
        <a:xfrm rot="16200000">
          <a:off x="408955" y="-408955"/>
          <a:ext cx="1911003" cy="272891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l" defTabSz="1066800">
            <a:lnSpc>
              <a:spcPct val="90000"/>
            </a:lnSpc>
            <a:spcBef>
              <a:spcPct val="0"/>
            </a:spcBef>
            <a:spcAft>
              <a:spcPct val="35000"/>
            </a:spcAft>
            <a:buNone/>
          </a:pPr>
          <a:endParaRPr lang="en-IN" sz="2400" kern="1200" dirty="0"/>
        </a:p>
        <a:p>
          <a:pPr marL="0" lvl="0" indent="0" algn="ctr" defTabSz="1066800">
            <a:lnSpc>
              <a:spcPct val="90000"/>
            </a:lnSpc>
            <a:spcBef>
              <a:spcPct val="0"/>
            </a:spcBef>
            <a:spcAft>
              <a:spcPct val="35000"/>
            </a:spcAft>
            <a:buNone/>
          </a:pPr>
          <a:r>
            <a:rPr lang="en-IN" sz="2400" kern="1200" dirty="0"/>
            <a:t>Bar charts depicting the distribution of devices in the data set</a:t>
          </a:r>
        </a:p>
      </dsp:txBody>
      <dsp:txXfrm rot="5400000">
        <a:off x="0" y="0"/>
        <a:ext cx="2728913" cy="1433252"/>
      </dsp:txXfrm>
    </dsp:sp>
    <dsp:sp modelId="{7766114E-9472-443E-8EF8-350EF6FC5598}">
      <dsp:nvSpPr>
        <dsp:cNvPr id="0" name=""/>
        <dsp:cNvSpPr/>
      </dsp:nvSpPr>
      <dsp:spPr>
        <a:xfrm>
          <a:off x="2728913" y="0"/>
          <a:ext cx="2728913" cy="191100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endParaRPr lang="en-IN" sz="2400" kern="1200" dirty="0"/>
        </a:p>
        <a:p>
          <a:pPr marL="0" lvl="0" indent="0" algn="ctr" defTabSz="1066800">
            <a:lnSpc>
              <a:spcPct val="90000"/>
            </a:lnSpc>
            <a:spcBef>
              <a:spcPct val="0"/>
            </a:spcBef>
            <a:spcAft>
              <a:spcPct val="35000"/>
            </a:spcAft>
            <a:buNone/>
          </a:pPr>
          <a:r>
            <a:rPr lang="en-IN" sz="2400" kern="1200" dirty="0"/>
            <a:t>ROC curves of each model to select which one is the best</a:t>
          </a:r>
        </a:p>
      </dsp:txBody>
      <dsp:txXfrm>
        <a:off x="2728913" y="0"/>
        <a:ext cx="2728913" cy="1433252"/>
      </dsp:txXfrm>
    </dsp:sp>
    <dsp:sp modelId="{7117D965-7CD6-4E00-BA49-6E6D4F904AC2}">
      <dsp:nvSpPr>
        <dsp:cNvPr id="0" name=""/>
        <dsp:cNvSpPr/>
      </dsp:nvSpPr>
      <dsp:spPr>
        <a:xfrm rot="10800000">
          <a:off x="0" y="1911003"/>
          <a:ext cx="2728913" cy="191100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76033E-E8D5-4BA7-9E2E-D52E197C4D71}">
      <dsp:nvSpPr>
        <dsp:cNvPr id="0" name=""/>
        <dsp:cNvSpPr/>
      </dsp:nvSpPr>
      <dsp:spPr>
        <a:xfrm rot="5400000">
          <a:off x="3137868" y="1502048"/>
          <a:ext cx="1911003" cy="272891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166AE8-718C-4B5E-85B3-4C2BD9202BF7}">
      <dsp:nvSpPr>
        <dsp:cNvPr id="0" name=""/>
        <dsp:cNvSpPr/>
      </dsp:nvSpPr>
      <dsp:spPr>
        <a:xfrm>
          <a:off x="461571" y="2390617"/>
          <a:ext cx="4534684" cy="955501"/>
        </a:xfrm>
        <a:prstGeom prst="roundRect">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IN" sz="3600" b="1" kern="1200" dirty="0"/>
            <a:t>Visualization</a:t>
          </a:r>
        </a:p>
      </dsp:txBody>
      <dsp:txXfrm>
        <a:off x="508215" y="2437261"/>
        <a:ext cx="4441396" cy="8622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82C3D-6326-4BC2-9900-6FCD9DCF66BC}">
      <dsp:nvSpPr>
        <dsp:cNvPr id="0" name=""/>
        <dsp:cNvSpPr/>
      </dsp:nvSpPr>
      <dsp:spPr>
        <a:xfrm>
          <a:off x="2442"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User centric </a:t>
          </a:r>
          <a:r>
            <a:rPr lang="en-IN" sz="2300" kern="1200" dirty="0" err="1"/>
            <a:t>streamlit</a:t>
          </a:r>
          <a:r>
            <a:rPr lang="en-IN" sz="2300" kern="1200" dirty="0"/>
            <a:t> design</a:t>
          </a:r>
        </a:p>
      </dsp:txBody>
      <dsp:txXfrm>
        <a:off x="2442" y="1265350"/>
        <a:ext cx="2381541" cy="834716"/>
      </dsp:txXfrm>
    </dsp:sp>
    <dsp:sp modelId="{D68DCCAA-D76B-4623-9C18-A255C6358BE1}">
      <dsp:nvSpPr>
        <dsp:cNvPr id="0" name=""/>
        <dsp:cNvSpPr/>
      </dsp:nvSpPr>
      <dsp:spPr>
        <a:xfrm>
          <a:off x="2442"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User friendly interface which allows easy navigation</a:t>
          </a:r>
        </a:p>
      </dsp:txBody>
      <dsp:txXfrm>
        <a:off x="2442" y="2100066"/>
        <a:ext cx="2381541" cy="1609942"/>
      </dsp:txXfrm>
    </dsp:sp>
    <dsp:sp modelId="{E9C227DB-6531-46DC-8666-3CEEAA788992}">
      <dsp:nvSpPr>
        <dsp:cNvPr id="0" name=""/>
        <dsp:cNvSpPr/>
      </dsp:nvSpPr>
      <dsp:spPr>
        <a:xfrm>
          <a:off x="2717400"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Accessibility features </a:t>
          </a:r>
        </a:p>
      </dsp:txBody>
      <dsp:txXfrm>
        <a:off x="2717400" y="1265350"/>
        <a:ext cx="2381541" cy="834716"/>
      </dsp:txXfrm>
    </dsp:sp>
    <dsp:sp modelId="{DD8E226E-4038-4D72-AD67-5AE91D8728EF}">
      <dsp:nvSpPr>
        <dsp:cNvPr id="0" name=""/>
        <dsp:cNvSpPr/>
      </dsp:nvSpPr>
      <dsp:spPr>
        <a:xfrm>
          <a:off x="2717400"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Good colour contrast and font size</a:t>
          </a:r>
        </a:p>
      </dsp:txBody>
      <dsp:txXfrm>
        <a:off x="2717400" y="2100066"/>
        <a:ext cx="2381541" cy="1609942"/>
      </dsp:txXfrm>
    </dsp:sp>
    <dsp:sp modelId="{03001F4A-42EB-4C1E-94DC-A2D074844536}">
      <dsp:nvSpPr>
        <dsp:cNvPr id="0" name=""/>
        <dsp:cNvSpPr/>
      </dsp:nvSpPr>
      <dsp:spPr>
        <a:xfrm>
          <a:off x="5432357"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Clear Visualizations </a:t>
          </a:r>
        </a:p>
      </dsp:txBody>
      <dsp:txXfrm>
        <a:off x="5432357" y="1265350"/>
        <a:ext cx="2381541" cy="834716"/>
      </dsp:txXfrm>
    </dsp:sp>
    <dsp:sp modelId="{E32EE3E5-906A-420F-85B2-1320809C07C0}">
      <dsp:nvSpPr>
        <dsp:cNvPr id="0" name=""/>
        <dsp:cNvSpPr/>
      </dsp:nvSpPr>
      <dsp:spPr>
        <a:xfrm>
          <a:off x="5432357"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resenting data in an understandable manner </a:t>
          </a:r>
        </a:p>
      </dsp:txBody>
      <dsp:txXfrm>
        <a:off x="5432357" y="2100066"/>
        <a:ext cx="2381541" cy="16099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DEF8CB-0558-46C7-BD95-9012FFD784F3}">
      <dsp:nvSpPr>
        <dsp:cNvPr id="0" name=""/>
        <dsp:cNvSpPr/>
      </dsp:nvSpPr>
      <dsp:spPr>
        <a:xfrm>
          <a:off x="2206"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err="1"/>
            <a:t>Streamlit</a:t>
          </a:r>
          <a:r>
            <a:rPr lang="en-IN" sz="2300" kern="1200" dirty="0"/>
            <a:t> sharing</a:t>
          </a:r>
        </a:p>
      </dsp:txBody>
      <dsp:txXfrm>
        <a:off x="2206" y="1099291"/>
        <a:ext cx="2150975" cy="829454"/>
      </dsp:txXfrm>
    </dsp:sp>
    <dsp:sp modelId="{32F236AD-689D-4B21-BD50-74467CE87C38}">
      <dsp:nvSpPr>
        <dsp:cNvPr id="0" name=""/>
        <dsp:cNvSpPr/>
      </dsp:nvSpPr>
      <dsp:spPr>
        <a:xfrm>
          <a:off x="2206"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Ideal for quick deployment </a:t>
          </a:r>
        </a:p>
      </dsp:txBody>
      <dsp:txXfrm>
        <a:off x="2206" y="1928746"/>
        <a:ext cx="2150975" cy="1947320"/>
      </dsp:txXfrm>
    </dsp:sp>
    <dsp:sp modelId="{0176FF65-1843-48F7-9526-0B70C85BCD7D}">
      <dsp:nvSpPr>
        <dsp:cNvPr id="0" name=""/>
        <dsp:cNvSpPr/>
      </dsp:nvSpPr>
      <dsp:spPr>
        <a:xfrm>
          <a:off x="2454318"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GitHub</a:t>
          </a:r>
        </a:p>
      </dsp:txBody>
      <dsp:txXfrm>
        <a:off x="2454318" y="1099291"/>
        <a:ext cx="2150975" cy="829454"/>
      </dsp:txXfrm>
    </dsp:sp>
    <dsp:sp modelId="{25B60CF2-47D3-49B5-A24E-0931A59D1112}">
      <dsp:nvSpPr>
        <dsp:cNvPr id="0" name=""/>
        <dsp:cNvSpPr/>
      </dsp:nvSpPr>
      <dsp:spPr>
        <a:xfrm>
          <a:off x="2454318"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ushing the app to GitHub and connecting to </a:t>
          </a:r>
          <a:r>
            <a:rPr lang="en-IN" sz="2300" kern="1200" dirty="0" err="1"/>
            <a:t>streamlit</a:t>
          </a:r>
          <a:endParaRPr lang="en-IN" sz="2300" kern="1200" dirty="0"/>
        </a:p>
      </dsp:txBody>
      <dsp:txXfrm>
        <a:off x="2454318" y="1928746"/>
        <a:ext cx="2150975" cy="1947320"/>
      </dsp:txXfrm>
    </dsp:sp>
    <dsp:sp modelId="{D02DC143-DCC8-4F23-928D-3B66784F5254}">
      <dsp:nvSpPr>
        <dsp:cNvPr id="0" name=""/>
        <dsp:cNvSpPr/>
      </dsp:nvSpPr>
      <dsp:spPr>
        <a:xfrm>
          <a:off x="4908636" y="1052817"/>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endParaRPr lang="en-IN" sz="2300" kern="1200"/>
        </a:p>
      </dsp:txBody>
      <dsp:txXfrm>
        <a:off x="4908636" y="1052817"/>
        <a:ext cx="2150975" cy="829454"/>
      </dsp:txXfrm>
    </dsp:sp>
    <dsp:sp modelId="{563418EE-2D62-4BDA-84FF-D4BFA17582FB}">
      <dsp:nvSpPr>
        <dsp:cNvPr id="0" name=""/>
        <dsp:cNvSpPr/>
      </dsp:nvSpPr>
      <dsp:spPr>
        <a:xfrm>
          <a:off x="4906430"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endParaRPr lang="en-IN" sz="2300" kern="1200"/>
        </a:p>
        <a:p>
          <a:pPr marL="228600" lvl="1" indent="-228600" algn="l" defTabSz="1022350">
            <a:lnSpc>
              <a:spcPct val="90000"/>
            </a:lnSpc>
            <a:spcBef>
              <a:spcPct val="0"/>
            </a:spcBef>
            <a:spcAft>
              <a:spcPct val="15000"/>
            </a:spcAft>
            <a:buChar char="•"/>
          </a:pPr>
          <a:endParaRPr lang="en-IN" sz="2300" kern="1200"/>
        </a:p>
      </dsp:txBody>
      <dsp:txXfrm>
        <a:off x="4906430" y="1928746"/>
        <a:ext cx="2150975" cy="1947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D6A4C-425E-4430-9987-9FD1D58FA9CE}">
      <dsp:nvSpPr>
        <dsp:cNvPr id="0" name=""/>
        <dsp:cNvSpPr/>
      </dsp:nvSpPr>
      <dsp:spPr>
        <a:xfrm>
          <a:off x="0" y="781902"/>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6984B9-5EF7-490C-9C7F-E9DE0AA1872F}">
      <dsp:nvSpPr>
        <dsp:cNvPr id="0" name=""/>
        <dsp:cNvSpPr/>
      </dsp:nvSpPr>
      <dsp:spPr>
        <a:xfrm>
          <a:off x="574574" y="26335"/>
          <a:ext cx="8598039" cy="9769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Advanced Analytics – To integrate more sophisticated features such as trend analysis to offer deep insights</a:t>
          </a:r>
        </a:p>
      </dsp:txBody>
      <dsp:txXfrm>
        <a:off x="622266" y="74027"/>
        <a:ext cx="8502655" cy="881583"/>
      </dsp:txXfrm>
    </dsp:sp>
    <dsp:sp modelId="{497420D4-016C-4B63-B9D9-BE4A04355091}">
      <dsp:nvSpPr>
        <dsp:cNvPr id="0" name=""/>
        <dsp:cNvSpPr/>
      </dsp:nvSpPr>
      <dsp:spPr>
        <a:xfrm>
          <a:off x="0" y="2005994"/>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5C483C-359D-454C-88B4-18081CDF47B6}">
      <dsp:nvSpPr>
        <dsp:cNvPr id="0" name=""/>
        <dsp:cNvSpPr/>
      </dsp:nvSpPr>
      <dsp:spPr>
        <a:xfrm>
          <a:off x="574574" y="1240902"/>
          <a:ext cx="9236656" cy="9864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ulti-platform support- extend support to additional platforms, such as mobile apps or integration with voice assistants.</a:t>
          </a:r>
        </a:p>
      </dsp:txBody>
      <dsp:txXfrm>
        <a:off x="622731" y="1289059"/>
        <a:ext cx="9140342" cy="890177"/>
      </dsp:txXfrm>
    </dsp:sp>
    <dsp:sp modelId="{01776C4E-5806-42C5-B45A-840E2721FF62}">
      <dsp:nvSpPr>
        <dsp:cNvPr id="0" name=""/>
        <dsp:cNvSpPr/>
      </dsp:nvSpPr>
      <dsp:spPr>
        <a:xfrm>
          <a:off x="0" y="3283107"/>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F8E99-EFE7-4E7F-85AA-88B5F02B078B}">
      <dsp:nvSpPr>
        <dsp:cNvPr id="0" name=""/>
        <dsp:cNvSpPr/>
      </dsp:nvSpPr>
      <dsp:spPr>
        <a:xfrm>
          <a:off x="574574" y="2464994"/>
          <a:ext cx="9588181" cy="10395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arket expansion- explore opportunities to enter new markets or industry segments by adapting the solution to meet specific needs and regulations</a:t>
          </a:r>
        </a:p>
      </dsp:txBody>
      <dsp:txXfrm>
        <a:off x="625319" y="2515739"/>
        <a:ext cx="9486691" cy="938022"/>
      </dsp:txXfrm>
    </dsp:sp>
    <dsp:sp modelId="{86E4CA4F-BC69-4D24-BB93-C24C69161AF9}">
      <dsp:nvSpPr>
        <dsp:cNvPr id="0" name=""/>
        <dsp:cNvSpPr/>
      </dsp:nvSpPr>
      <dsp:spPr>
        <a:xfrm>
          <a:off x="0" y="4583746"/>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54533B-8DBD-4DE1-9E1A-9A39D495A738}">
      <dsp:nvSpPr>
        <dsp:cNvPr id="0" name=""/>
        <dsp:cNvSpPr/>
      </dsp:nvSpPr>
      <dsp:spPr>
        <a:xfrm>
          <a:off x="637128" y="3732007"/>
          <a:ext cx="10309973" cy="1063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Innovation</a:t>
          </a:r>
          <a:r>
            <a:rPr lang="en-IN" sz="2000" kern="1200" baseline="0" dirty="0"/>
            <a:t> and R&amp;D- Invest in research and development to stay ahead of technological advancements and incorporate innovative solutions.  </a:t>
          </a:r>
          <a:endParaRPr lang="en-IN" sz="2000" kern="1200" dirty="0"/>
        </a:p>
      </dsp:txBody>
      <dsp:txXfrm>
        <a:off x="689021" y="3783900"/>
        <a:ext cx="10206187" cy="9592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A205C-2B0D-4C7C-B9AF-50573FDB321D}">
      <dsp:nvSpPr>
        <dsp:cNvPr id="0" name=""/>
        <dsp:cNvSpPr/>
      </dsp:nvSpPr>
      <dsp:spPr>
        <a:xfrm>
          <a:off x="844248" y="0"/>
          <a:ext cx="9568155" cy="37910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B77B7A-8A1B-4AD1-B403-250E52EDA0A7}">
      <dsp:nvSpPr>
        <dsp:cNvPr id="0" name=""/>
        <dsp:cNvSpPr/>
      </dsp:nvSpPr>
      <dsp:spPr>
        <a:xfrm>
          <a:off x="7061"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collection</a:t>
          </a:r>
        </a:p>
      </dsp:txBody>
      <dsp:txXfrm>
        <a:off x="81087" y="1211343"/>
        <a:ext cx="2503253" cy="1368371"/>
      </dsp:txXfrm>
    </dsp:sp>
    <dsp:sp modelId="{AA3D576F-7160-4415-B5AC-4A010EDA3B9C}">
      <dsp:nvSpPr>
        <dsp:cNvPr id="0" name=""/>
        <dsp:cNvSpPr/>
      </dsp:nvSpPr>
      <dsp:spPr>
        <a:xfrm>
          <a:off x="2870803"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preprocessing  </a:t>
          </a:r>
        </a:p>
      </dsp:txBody>
      <dsp:txXfrm>
        <a:off x="2944829" y="1211343"/>
        <a:ext cx="2503253" cy="1368371"/>
      </dsp:txXfrm>
    </dsp:sp>
    <dsp:sp modelId="{B20DABB3-F05D-489F-8717-74868B78903D}">
      <dsp:nvSpPr>
        <dsp:cNvPr id="0" name=""/>
        <dsp:cNvSpPr/>
      </dsp:nvSpPr>
      <dsp:spPr>
        <a:xfrm>
          <a:off x="5734544"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training </a:t>
          </a:r>
        </a:p>
      </dsp:txBody>
      <dsp:txXfrm>
        <a:off x="5808570" y="1211343"/>
        <a:ext cx="2503253" cy="1368371"/>
      </dsp:txXfrm>
    </dsp:sp>
    <dsp:sp modelId="{F3660B7D-DE92-47B0-976C-B56539FF7865}">
      <dsp:nvSpPr>
        <dsp:cNvPr id="0" name=""/>
        <dsp:cNvSpPr/>
      </dsp:nvSpPr>
      <dsp:spPr>
        <a:xfrm>
          <a:off x="8598286"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evaluation  </a:t>
          </a:r>
        </a:p>
      </dsp:txBody>
      <dsp:txXfrm>
        <a:off x="8672312" y="1211343"/>
        <a:ext cx="2503253" cy="136837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8/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7</a:t>
            </a:fld>
            <a:endParaRPr lang="en-US"/>
          </a:p>
        </p:txBody>
      </p:sp>
    </p:spTree>
    <p:extLst>
      <p:ext uri="{BB962C8B-B14F-4D97-AF65-F5344CB8AC3E}">
        <p14:creationId xmlns:p14="http://schemas.microsoft.com/office/powerpoint/2010/main" val="3581082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1"/>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33" imgH="336" progId="TCLayout.ActiveDocument.1">
                  <p:embed/>
                </p:oleObj>
              </mc:Choice>
              <mc:Fallback>
                <p:oleObj name="think-cell Slide" r:id="rId32"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8/5/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1" r:id="rId26"/>
    <p:sldLayoutId id="2147483692" r:id="rId27"/>
    <p:sldLayoutId id="2147483693" r:id="rId28"/>
    <p:sldLayoutId id="2147483694" r:id="rId29"/>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oleObject" Target="../embeddings/oleObject2.bin"/><Relationship Id="rId7" Type="http://schemas.openxmlformats.org/officeDocument/2006/relationships/diagramQuickStyle" Target="../diagrams/quickStyle7.xml"/><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1.emf"/><Relationship Id="rId9" Type="http://schemas.microsoft.com/office/2007/relationships/diagramDrawing" Target="../diagrams/drawing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ll India Women Hackath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Ravenclaw </a:t>
            </a:r>
          </a:p>
        </p:txBody>
      </p:sp>
      <p:pic>
        <p:nvPicPr>
          <p:cNvPr id="1026" name="Picture 2" descr="Shooting Stars Foundation Expands Governing Board of Directors to Increase  Program Growth and Student Impact">
            <a:extLst>
              <a:ext uri="{FF2B5EF4-FFF2-40B4-BE49-F238E27FC236}">
                <a16:creationId xmlns:a16="http://schemas.microsoft.com/office/drawing/2014/main" id="{2C733EFF-12F6-A4B2-41E5-BF8E0AA95E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568" b="12567"/>
          <a:stretch/>
        </p:blipFill>
        <p:spPr bwMode="auto">
          <a:xfrm>
            <a:off x="4889938" y="841037"/>
            <a:ext cx="2412123" cy="921589"/>
          </a:xfrm>
          <a:prstGeom prst="rect">
            <a:avLst/>
          </a:prstGeom>
          <a:noFill/>
          <a:extLst>
            <a:ext uri="{909E8E84-426E-40DD-AFC4-6F175D3DCCD1}">
              <a14:hiddenFill xmlns:a14="http://schemas.microsoft.com/office/drawing/2010/main">
                <a:solidFill>
                  <a:srgbClr val="FFFFFF"/>
                </a:solidFill>
              </a14:hiddenFill>
            </a:ext>
          </a:extLst>
        </p:spPr>
      </p:pic>
      <p:sp>
        <p:nvSpPr>
          <p:cNvPr id="3" name="Multiplication Sign 2">
            <a:extLst>
              <a:ext uri="{FF2B5EF4-FFF2-40B4-BE49-F238E27FC236}">
                <a16:creationId xmlns:a16="http://schemas.microsoft.com/office/drawing/2014/main" id="{9C132675-5045-660E-3FFC-9905EB02A135}"/>
              </a:ext>
            </a:extLst>
          </p:cNvPr>
          <p:cNvSpPr/>
          <p:nvPr/>
        </p:nvSpPr>
        <p:spPr>
          <a:xfrm>
            <a:off x="3938954" y="1040574"/>
            <a:ext cx="543392" cy="522514"/>
          </a:xfrm>
          <a:prstGeom prst="mathMultiply">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77883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Deployment Plan and Integration</a:t>
            </a:r>
          </a:p>
        </p:txBody>
      </p:sp>
      <p:graphicFrame>
        <p:nvGraphicFramePr>
          <p:cNvPr id="3" name="Diagram 2">
            <a:extLst>
              <a:ext uri="{FF2B5EF4-FFF2-40B4-BE49-F238E27FC236}">
                <a16:creationId xmlns:a16="http://schemas.microsoft.com/office/drawing/2014/main" id="{BB7A6613-B27A-C237-F077-AC3EA786D5E5}"/>
              </a:ext>
            </a:extLst>
          </p:cNvPr>
          <p:cNvGraphicFramePr/>
          <p:nvPr>
            <p:extLst>
              <p:ext uri="{D42A27DB-BD31-4B8C-83A1-F6EECF244321}">
                <p14:modId xmlns:p14="http://schemas.microsoft.com/office/powerpoint/2010/main" val="3453607186"/>
              </p:ext>
            </p:extLst>
          </p:nvPr>
        </p:nvGraphicFramePr>
        <p:xfrm>
          <a:off x="422684" y="-70656"/>
          <a:ext cx="7816342" cy="497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 4">
            <a:extLst>
              <a:ext uri="{FF2B5EF4-FFF2-40B4-BE49-F238E27FC236}">
                <a16:creationId xmlns:a16="http://schemas.microsoft.com/office/drawing/2014/main" id="{8D68AEF5-EACC-4017-D6D2-BE8436881A99}"/>
              </a:ext>
            </a:extLst>
          </p:cNvPr>
          <p:cNvSpPr/>
          <p:nvPr/>
        </p:nvSpPr>
        <p:spPr>
          <a:xfrm>
            <a:off x="9031287" y="1801459"/>
            <a:ext cx="2295525" cy="1485900"/>
          </a:xfrm>
          <a:prstGeom prst="lef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N" sz="2400" b="1" dirty="0"/>
              <a:t>Ease of use </a:t>
            </a:r>
          </a:p>
        </p:txBody>
      </p:sp>
      <p:sp>
        <p:nvSpPr>
          <p:cNvPr id="8" name="Arrow: Right 7">
            <a:extLst>
              <a:ext uri="{FF2B5EF4-FFF2-40B4-BE49-F238E27FC236}">
                <a16:creationId xmlns:a16="http://schemas.microsoft.com/office/drawing/2014/main" id="{3AA14FDD-5F78-E54D-5421-1E585192873C}"/>
              </a:ext>
            </a:extLst>
          </p:cNvPr>
          <p:cNvSpPr/>
          <p:nvPr/>
        </p:nvSpPr>
        <p:spPr>
          <a:xfrm>
            <a:off x="566738" y="4686300"/>
            <a:ext cx="2419350" cy="1443038"/>
          </a:xfrm>
          <a:prstGeom prst="right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sz="2400" b="1" dirty="0"/>
              <a:t>Deployment </a:t>
            </a:r>
          </a:p>
        </p:txBody>
      </p:sp>
      <p:graphicFrame>
        <p:nvGraphicFramePr>
          <p:cNvPr id="9" name="Diagram 8">
            <a:extLst>
              <a:ext uri="{FF2B5EF4-FFF2-40B4-BE49-F238E27FC236}">
                <a16:creationId xmlns:a16="http://schemas.microsoft.com/office/drawing/2014/main" id="{52EBBC88-6EC6-79E2-25D7-19EDA5DD22B2}"/>
              </a:ext>
            </a:extLst>
          </p:cNvPr>
          <p:cNvGraphicFramePr/>
          <p:nvPr>
            <p:extLst>
              <p:ext uri="{D42A27DB-BD31-4B8C-83A1-F6EECF244321}">
                <p14:modId xmlns:p14="http://schemas.microsoft.com/office/powerpoint/2010/main" val="1041281914"/>
              </p:ext>
            </p:extLst>
          </p:nvPr>
        </p:nvGraphicFramePr>
        <p:xfrm>
          <a:off x="3579812" y="2766064"/>
          <a:ext cx="7059612" cy="49753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1"/>
    </p:custDataLst>
    <p:extLst>
      <p:ext uri="{BB962C8B-B14F-4D97-AF65-F5344CB8AC3E}">
        <p14:creationId xmlns:p14="http://schemas.microsoft.com/office/powerpoint/2010/main" val="28970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Recommendations and Next Steps </a:t>
            </a:r>
          </a:p>
        </p:txBody>
      </p:sp>
      <p:graphicFrame>
        <p:nvGraphicFramePr>
          <p:cNvPr id="3" name="Diagram 2">
            <a:extLst>
              <a:ext uri="{FF2B5EF4-FFF2-40B4-BE49-F238E27FC236}">
                <a16:creationId xmlns:a16="http://schemas.microsoft.com/office/drawing/2014/main" id="{E784E1D6-A1CB-6ECF-0B65-A95BC88B441A}"/>
              </a:ext>
            </a:extLst>
          </p:cNvPr>
          <p:cNvGraphicFramePr/>
          <p:nvPr>
            <p:extLst>
              <p:ext uri="{D42A27DB-BD31-4B8C-83A1-F6EECF244321}">
                <p14:modId xmlns:p14="http://schemas.microsoft.com/office/powerpoint/2010/main" val="2902156176"/>
              </p:ext>
            </p:extLst>
          </p:nvPr>
        </p:nvGraphicFramePr>
        <p:xfrm>
          <a:off x="147797" y="1375011"/>
          <a:ext cx="11491495" cy="49880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500226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a:xfrm>
            <a:off x="348792" y="186017"/>
            <a:ext cx="10515600" cy="811922"/>
          </a:xfrm>
        </p:spPr>
        <p:txBody>
          <a:bodyPr vert="horz"/>
          <a:lstStyle/>
          <a:p>
            <a:r>
              <a:rPr lang="en-US" b="1" dirty="0"/>
              <a:t>Appendix: Key analyses</a:t>
            </a:r>
          </a:p>
        </p:txBody>
      </p:sp>
      <p:graphicFrame>
        <p:nvGraphicFramePr>
          <p:cNvPr id="11" name="Diagram 10">
            <a:extLst>
              <a:ext uri="{FF2B5EF4-FFF2-40B4-BE49-F238E27FC236}">
                <a16:creationId xmlns:a16="http://schemas.microsoft.com/office/drawing/2014/main" id="{74DF9B6B-B0E8-C805-FD05-0F4D382BE2C4}"/>
              </a:ext>
            </a:extLst>
          </p:cNvPr>
          <p:cNvGraphicFramePr/>
          <p:nvPr>
            <p:extLst>
              <p:ext uri="{D42A27DB-BD31-4B8C-83A1-F6EECF244321}">
                <p14:modId xmlns:p14="http://schemas.microsoft.com/office/powerpoint/2010/main" val="388281779"/>
              </p:ext>
            </p:extLst>
          </p:nvPr>
        </p:nvGraphicFramePr>
        <p:xfrm>
          <a:off x="460865" y="1187706"/>
          <a:ext cx="11256653" cy="379105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2" name="Arrow: Down 11">
            <a:extLst>
              <a:ext uri="{FF2B5EF4-FFF2-40B4-BE49-F238E27FC236}">
                <a16:creationId xmlns:a16="http://schemas.microsoft.com/office/drawing/2014/main" id="{FE9CD3D6-5BA1-CFAA-9166-02333440BC9D}"/>
              </a:ext>
            </a:extLst>
          </p:cNvPr>
          <p:cNvSpPr/>
          <p:nvPr/>
        </p:nvSpPr>
        <p:spPr>
          <a:xfrm>
            <a:off x="4402317" y="3940585"/>
            <a:ext cx="793421" cy="9236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92D3D430-6E0E-F7E0-A85B-A73F5090D616}"/>
              </a:ext>
            </a:extLst>
          </p:cNvPr>
          <p:cNvSpPr/>
          <p:nvPr/>
        </p:nvSpPr>
        <p:spPr>
          <a:xfrm>
            <a:off x="178829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Data cleaning </a:t>
            </a:r>
          </a:p>
        </p:txBody>
      </p:sp>
      <p:sp>
        <p:nvSpPr>
          <p:cNvPr id="15" name="Rectangle: Rounded Corners 14">
            <a:extLst>
              <a:ext uri="{FF2B5EF4-FFF2-40B4-BE49-F238E27FC236}">
                <a16:creationId xmlns:a16="http://schemas.microsoft.com/office/drawing/2014/main" id="{58BE6E8F-6716-A115-BE32-F651D168DB58}"/>
              </a:ext>
            </a:extLst>
          </p:cNvPr>
          <p:cNvSpPr/>
          <p:nvPr/>
        </p:nvSpPr>
        <p:spPr>
          <a:xfrm>
            <a:off x="3462337" y="4978765"/>
            <a:ext cx="1764383"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Data Transformation </a:t>
            </a:r>
          </a:p>
        </p:txBody>
      </p:sp>
      <p:sp>
        <p:nvSpPr>
          <p:cNvPr id="16" name="Rectangle: Rounded Corners 15">
            <a:extLst>
              <a:ext uri="{FF2B5EF4-FFF2-40B4-BE49-F238E27FC236}">
                <a16:creationId xmlns:a16="http://schemas.microsoft.com/office/drawing/2014/main" id="{F3E910AB-ADBE-C75F-5CBC-DA8D6A7FF674}"/>
              </a:ext>
            </a:extLst>
          </p:cNvPr>
          <p:cNvSpPr/>
          <p:nvPr/>
        </p:nvSpPr>
        <p:spPr>
          <a:xfrm>
            <a:off x="5411329"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One Hot encoding</a:t>
            </a:r>
          </a:p>
        </p:txBody>
      </p:sp>
      <p:sp>
        <p:nvSpPr>
          <p:cNvPr id="17" name="Rectangle: Rounded Corners 16">
            <a:extLst>
              <a:ext uri="{FF2B5EF4-FFF2-40B4-BE49-F238E27FC236}">
                <a16:creationId xmlns:a16="http://schemas.microsoft.com/office/drawing/2014/main" id="{8E4BAC3F-3CC2-0B11-6D6F-A7E087AA6CC3}"/>
              </a:ext>
            </a:extLst>
          </p:cNvPr>
          <p:cNvSpPr/>
          <p:nvPr/>
        </p:nvSpPr>
        <p:spPr>
          <a:xfrm>
            <a:off x="708537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Feature engineering  </a:t>
            </a:r>
          </a:p>
        </p:txBody>
      </p:sp>
      <p:sp>
        <p:nvSpPr>
          <p:cNvPr id="18" name="Rectangle: Rounded Corners 17">
            <a:extLst>
              <a:ext uri="{FF2B5EF4-FFF2-40B4-BE49-F238E27FC236}">
                <a16:creationId xmlns:a16="http://schemas.microsoft.com/office/drawing/2014/main" id="{24D8AED3-99B3-3F75-5CFE-2EF0C5F9148A}"/>
              </a:ext>
            </a:extLst>
          </p:cNvPr>
          <p:cNvSpPr/>
          <p:nvPr/>
        </p:nvSpPr>
        <p:spPr>
          <a:xfrm>
            <a:off x="8759417"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Splitting data</a:t>
            </a:r>
          </a:p>
        </p:txBody>
      </p:sp>
      <p:sp>
        <p:nvSpPr>
          <p:cNvPr id="19" name="Arrow: Down 18">
            <a:extLst>
              <a:ext uri="{FF2B5EF4-FFF2-40B4-BE49-F238E27FC236}">
                <a16:creationId xmlns:a16="http://schemas.microsoft.com/office/drawing/2014/main" id="{8EC5EF8D-9BF6-2E88-DC85-748BFFB03CA9}"/>
              </a:ext>
            </a:extLst>
          </p:cNvPr>
          <p:cNvSpPr/>
          <p:nvPr/>
        </p:nvSpPr>
        <p:spPr>
          <a:xfrm>
            <a:off x="6014301" y="5920032"/>
            <a:ext cx="377072" cy="3299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19">
            <a:extLst>
              <a:ext uri="{FF2B5EF4-FFF2-40B4-BE49-F238E27FC236}">
                <a16:creationId xmlns:a16="http://schemas.microsoft.com/office/drawing/2014/main" id="{01F7B830-340E-7C9B-E646-C5503BC54CAE}"/>
              </a:ext>
            </a:extLst>
          </p:cNvPr>
          <p:cNvSpPr/>
          <p:nvPr/>
        </p:nvSpPr>
        <p:spPr>
          <a:xfrm rot="10800000" flipV="1">
            <a:off x="4181248" y="6268824"/>
            <a:ext cx="3949595" cy="400110"/>
          </a:xfrm>
          <a:prstGeom prst="rect">
            <a:avLst/>
          </a:prstGeom>
          <a:noFill/>
        </p:spPr>
        <p:txBody>
          <a:bodyPr wrap="square" lIns="91440" tIns="45720" rIns="91440" bIns="45720">
            <a:spAutoFit/>
          </a:bodyPr>
          <a:lstStyle/>
          <a:p>
            <a:pPr algn="ctr"/>
            <a:r>
              <a:rPr lang="en-US" sz="2000" dirty="0">
                <a:ln w="0"/>
                <a:effectLst>
                  <a:outerShdw blurRad="38100" dist="19050" dir="2700000" algn="tl" rotWithShape="0">
                    <a:schemeClr val="dk1">
                      <a:alpha val="40000"/>
                    </a:schemeClr>
                  </a:outerShdw>
                </a:effectLst>
              </a:rPr>
              <a:t>Increased the model’s accuracy</a:t>
            </a:r>
            <a:endParaRPr lang="en-US" sz="2000" b="0" cap="none" spc="0" dirty="0">
              <a:ln w="0"/>
              <a:solidFill>
                <a:schemeClr val="tx1"/>
              </a:solidFill>
              <a:effectLst>
                <a:outerShdw blurRad="38100" dist="19050" dir="2700000" algn="tl" rotWithShape="0">
                  <a:schemeClr val="dk1">
                    <a:alpha val="40000"/>
                  </a:schemeClr>
                </a:outerShdw>
              </a:effectLst>
            </a:endParaRPr>
          </a:p>
        </p:txBody>
      </p:sp>
      <p:sp>
        <p:nvSpPr>
          <p:cNvPr id="3" name="Rectangle 2">
            <a:extLst>
              <a:ext uri="{FF2B5EF4-FFF2-40B4-BE49-F238E27FC236}">
                <a16:creationId xmlns:a16="http://schemas.microsoft.com/office/drawing/2014/main" id="{C9A974A8-124C-612B-5221-F09166A6A5D3}"/>
              </a:ext>
            </a:extLst>
          </p:cNvPr>
          <p:cNvSpPr/>
          <p:nvPr/>
        </p:nvSpPr>
        <p:spPr>
          <a:xfrm>
            <a:off x="249085" y="1070254"/>
            <a:ext cx="6426503" cy="369332"/>
          </a:xfrm>
          <a:prstGeom prst="rect">
            <a:avLst/>
          </a:prstGeom>
          <a:noFill/>
        </p:spPr>
        <p:txBody>
          <a:bodyPr wrap="none" lIns="91440" tIns="45720" rIns="91440" bIns="45720">
            <a:spAutoFit/>
          </a:bodyPr>
          <a:lstStyle/>
          <a:p>
            <a:pPr algn="ctr"/>
            <a:r>
              <a:rPr lang="en-US" b="0" cap="none" spc="0" dirty="0">
                <a:ln w="0"/>
                <a:solidFill>
                  <a:schemeClr val="tx1"/>
                </a:solidFill>
                <a:effectLst>
                  <a:outerShdw blurRad="38100" dist="19050" dir="2700000" algn="tl" rotWithShape="0">
                    <a:schemeClr val="dk1">
                      <a:alpha val="40000"/>
                    </a:schemeClr>
                  </a:outerShdw>
                </a:effectLst>
              </a:rPr>
              <a:t>https://1drv.ms/v/s!AktyuoDWPQBhgxbeyabpdGvjXMr8?e=s6aH4j</a:t>
            </a:r>
          </a:p>
        </p:txBody>
      </p:sp>
    </p:spTree>
    <p:extLst>
      <p:ext uri="{BB962C8B-B14F-4D97-AF65-F5344CB8AC3E}">
        <p14:creationId xmlns:p14="http://schemas.microsoft.com/office/powerpoint/2010/main" val="2268141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669891" y="-146910"/>
            <a:ext cx="10515600" cy="811922"/>
          </a:xfrm>
        </p:spPr>
        <p:txBody>
          <a:bodyPr/>
          <a:lstStyle/>
          <a:p>
            <a:r>
              <a:rPr lang="en-US" sz="2800" b="1" dirty="0"/>
              <a:t>Executive Summary</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196645" y="496164"/>
            <a:ext cx="11798709" cy="5865671"/>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120"/>
              </a:spcBef>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To empower homeowners with tools and insights to </a:t>
            </a:r>
            <a:r>
              <a:rPr lang="en-US" sz="1600" b="1" dirty="0">
                <a:solidFill>
                  <a:schemeClr val="bg2">
                    <a:lumMod val="75000"/>
                  </a:schemeClr>
                </a:solidFill>
                <a:latin typeface="Arial"/>
                <a:cs typeface="Arial"/>
              </a:rPr>
              <a:t>evaluate and optimize the energy efficiency </a:t>
            </a:r>
            <a:r>
              <a:rPr lang="en-US" sz="1600" dirty="0">
                <a:solidFill>
                  <a:schemeClr val="bg2">
                    <a:lumMod val="75000"/>
                  </a:schemeClr>
                </a:solidFill>
                <a:latin typeface="Arial"/>
                <a:cs typeface="Arial"/>
              </a:rPr>
              <a:t>of their household appliances, thereby reducing energy consumption and lowering electricity bills.</a:t>
            </a:r>
          </a:p>
          <a:p>
            <a:pPr marL="0" indent="0" algn="just">
              <a:spcBef>
                <a:spcPts val="120"/>
              </a:spcBef>
              <a:spcAft>
                <a:spcPts val="0"/>
              </a:spcAft>
              <a:buNone/>
            </a:pPr>
            <a:endParaRPr lang="en-US" sz="1600" i="1" dirty="0">
              <a:solidFill>
                <a:schemeClr val="tx1">
                  <a:lumMod val="75000"/>
                  <a:lumOff val="2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We recommend </a:t>
            </a:r>
            <a:r>
              <a:rPr lang="en-US" sz="1600" dirty="0">
                <a:solidFill>
                  <a:schemeClr val="bg2">
                    <a:lumMod val="75000"/>
                  </a:schemeClr>
                </a:solidFill>
                <a:latin typeface="Arial"/>
                <a:cs typeface="Arial"/>
              </a:rPr>
              <a:t>implementing an AI-driven application that </a:t>
            </a:r>
            <a:r>
              <a:rPr lang="en-US" sz="1600" b="1" dirty="0">
                <a:solidFill>
                  <a:schemeClr val="bg2">
                    <a:lumMod val="75000"/>
                  </a:schemeClr>
                </a:solidFill>
                <a:latin typeface="Arial"/>
                <a:cs typeface="Arial"/>
              </a:rPr>
              <a:t>collects and analyzes data on appliance features and energy consumption, evaluates their sustainability, and provides personalized recommendations </a:t>
            </a:r>
            <a:r>
              <a:rPr lang="en-US" sz="1600" b="1" dirty="0">
                <a:solidFill>
                  <a:schemeClr val="tx1">
                    <a:lumMod val="75000"/>
                    <a:lumOff val="25000"/>
                  </a:schemeClr>
                </a:solidFill>
                <a:latin typeface="Arial"/>
                <a:cs typeface="Arial"/>
              </a:rPr>
              <a:t>to enable </a:t>
            </a:r>
            <a:r>
              <a:rPr lang="en-US" sz="1600" dirty="0">
                <a:solidFill>
                  <a:schemeClr val="bg2">
                    <a:lumMod val="75000"/>
                  </a:schemeClr>
                </a:solidFill>
                <a:latin typeface="Arial"/>
                <a:cs typeface="Arial"/>
              </a:rPr>
              <a:t>users to make informed decisions and implement effective energy-saving measures </a:t>
            </a:r>
            <a:r>
              <a:rPr lang="en-US" sz="1600" b="1" dirty="0">
                <a:solidFill>
                  <a:schemeClr val="tx1">
                    <a:lumMod val="75000"/>
                    <a:lumOff val="25000"/>
                  </a:schemeClr>
                </a:solidFill>
                <a:latin typeface="Arial"/>
                <a:cs typeface="Arial"/>
              </a:rPr>
              <a:t>.</a:t>
            </a:r>
          </a:p>
          <a:p>
            <a:pPr marL="0" indent="0" algn="just">
              <a:spcBef>
                <a:spcPts val="120"/>
              </a:spcBef>
              <a:spcAft>
                <a:spcPts val="0"/>
              </a:spcAft>
              <a:buNone/>
            </a:pPr>
            <a:endParaRPr lang="en-US" sz="1600" b="1" dirty="0">
              <a:solidFill>
                <a:schemeClr val="tx1">
                  <a:lumMod val="75000"/>
                  <a:lumOff val="2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Preliminary analysis indicates that :</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Homeowners often lack the necessary tools and insights to optimize energy usage.</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Inefficient energy usage leads to higher electricity bills.</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Personalized recommendations can significantly improve energy efficiency.</a:t>
            </a:r>
          </a:p>
          <a:p>
            <a:pPr marL="0" indent="-342900" algn="just">
              <a:spcBef>
                <a:spcPts val="120"/>
              </a:spcBef>
              <a:spcAft>
                <a:spcPts val="0"/>
              </a:spcAft>
              <a:buAutoNum type="arabicPeriod"/>
            </a:pPr>
            <a:endParaRPr lang="en-US" sz="1600" i="1" dirty="0">
              <a:solidFill>
                <a:schemeClr val="bg2">
                  <a:lumMod val="75000"/>
                </a:schemeClr>
              </a:solidFill>
            </a:endParaRPr>
          </a:p>
          <a:p>
            <a:pPr marL="0" indent="0" algn="just">
              <a:spcBef>
                <a:spcPts val="120"/>
              </a:spcBef>
              <a:spcAft>
                <a:spcPts val="0"/>
              </a:spcAft>
              <a:buNone/>
            </a:pPr>
            <a:r>
              <a:rPr lang="en-US" sz="1600" b="1" dirty="0">
                <a:solidFill>
                  <a:schemeClr val="tx1"/>
                </a:solidFill>
                <a:latin typeface="Arial"/>
                <a:cs typeface="Arial"/>
              </a:rPr>
              <a:t>Our approach involved:</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Data Collection </a:t>
            </a:r>
            <a:r>
              <a:rPr lang="en-US" sz="1600" dirty="0">
                <a:solidFill>
                  <a:schemeClr val="bg2">
                    <a:lumMod val="75000"/>
                  </a:schemeClr>
                </a:solidFill>
                <a:latin typeface="Arial"/>
                <a:cs typeface="Arial"/>
              </a:rPr>
              <a:t>- Gathering data on user behavior, device efficiency, and preferences.</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Model Training </a:t>
            </a:r>
            <a:r>
              <a:rPr lang="en-US" sz="1600" dirty="0">
                <a:solidFill>
                  <a:schemeClr val="bg2">
                    <a:lumMod val="75000"/>
                  </a:schemeClr>
                </a:solidFill>
                <a:latin typeface="Arial"/>
                <a:cs typeface="Arial"/>
              </a:rPr>
              <a:t>- Using machine learning to assess device sustainability.</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Personalized Recommendations </a:t>
            </a:r>
            <a:r>
              <a:rPr lang="en-US" sz="1600" dirty="0">
                <a:solidFill>
                  <a:schemeClr val="bg2">
                    <a:lumMod val="75000"/>
                  </a:schemeClr>
                </a:solidFill>
                <a:latin typeface="Arial"/>
                <a:cs typeface="Arial"/>
              </a:rPr>
              <a:t>- Leveraging </a:t>
            </a:r>
            <a:r>
              <a:rPr lang="en-US" sz="1600" u="sng" dirty="0" err="1">
                <a:solidFill>
                  <a:schemeClr val="bg2">
                    <a:lumMod val="75000"/>
                  </a:schemeClr>
                </a:solidFill>
                <a:latin typeface="Arial"/>
                <a:cs typeface="Arial"/>
              </a:rPr>
              <a:t>LangChain</a:t>
            </a:r>
            <a:r>
              <a:rPr lang="en-US" sz="1600" u="sng" dirty="0">
                <a:solidFill>
                  <a:schemeClr val="bg2">
                    <a:lumMod val="75000"/>
                  </a:schemeClr>
                </a:solidFill>
                <a:latin typeface="Arial"/>
                <a:cs typeface="Arial"/>
              </a:rPr>
              <a:t> and Google </a:t>
            </a:r>
            <a:r>
              <a:rPr lang="en-US" sz="1600" u="sng" dirty="0" err="1">
                <a:solidFill>
                  <a:schemeClr val="bg2">
                    <a:lumMod val="75000"/>
                  </a:schemeClr>
                </a:solidFill>
                <a:latin typeface="Arial"/>
                <a:cs typeface="Arial"/>
              </a:rPr>
              <a:t>PaLM</a:t>
            </a:r>
            <a:r>
              <a:rPr lang="en-US" sz="1600" u="sng" dirty="0">
                <a:solidFill>
                  <a:schemeClr val="bg2">
                    <a:lumMod val="75000"/>
                  </a:schemeClr>
                </a:solidFill>
                <a:latin typeface="Arial"/>
                <a:cs typeface="Arial"/>
              </a:rPr>
              <a:t> API </a:t>
            </a:r>
            <a:r>
              <a:rPr lang="en-US" sz="1600" dirty="0">
                <a:solidFill>
                  <a:schemeClr val="bg2">
                    <a:lumMod val="75000"/>
                  </a:schemeClr>
                </a:solidFill>
                <a:latin typeface="Arial"/>
                <a:cs typeface="Arial"/>
              </a:rPr>
              <a:t>to provide tailored suggestions for improving energy efficiency.</a:t>
            </a:r>
          </a:p>
          <a:p>
            <a:pPr marL="0" indent="-342900" algn="just">
              <a:spcBef>
                <a:spcPts val="120"/>
              </a:spcBef>
              <a:spcAft>
                <a:spcPts val="0"/>
              </a:spcAft>
              <a:buAutoNum type="arabicPeriod"/>
            </a:pPr>
            <a:r>
              <a:rPr lang="en-US" sz="1600" b="1" dirty="0" err="1">
                <a:solidFill>
                  <a:schemeClr val="bg2">
                    <a:lumMod val="75000"/>
                  </a:schemeClr>
                </a:solidFill>
                <a:latin typeface="Arial"/>
                <a:cs typeface="Arial"/>
              </a:rPr>
              <a:t>Streamlit</a:t>
            </a:r>
            <a:r>
              <a:rPr lang="en-US" sz="1600" b="1" dirty="0">
                <a:solidFill>
                  <a:schemeClr val="bg2">
                    <a:lumMod val="75000"/>
                  </a:schemeClr>
                </a:solidFill>
                <a:latin typeface="Arial"/>
                <a:cs typeface="Arial"/>
              </a:rPr>
              <a:t> Development</a:t>
            </a:r>
            <a:r>
              <a:rPr lang="en-US" sz="1600" dirty="0">
                <a:solidFill>
                  <a:schemeClr val="bg2">
                    <a:lumMod val="75000"/>
                  </a:schemeClr>
                </a:solidFill>
                <a:latin typeface="Arial"/>
                <a:cs typeface="Arial"/>
              </a:rPr>
              <a:t> - Building and deploying an interactive and user-friendly web application.</a:t>
            </a:r>
          </a:p>
          <a:p>
            <a:pPr marL="0" indent="0" algn="just">
              <a:spcBef>
                <a:spcPts val="120"/>
              </a:spcBef>
              <a:spcAft>
                <a:spcPts val="0"/>
              </a:spcAft>
              <a:buNone/>
            </a:pPr>
            <a:endParaRPr lang="en-US" sz="1600" dirty="0">
              <a:solidFill>
                <a:schemeClr val="bg2">
                  <a:lumMod val="7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We proposes that the steps are:</a:t>
            </a:r>
          </a:p>
          <a:p>
            <a:pPr marL="0" indent="-344170" algn="just">
              <a:spcBef>
                <a:spcPts val="120"/>
              </a:spcBef>
              <a:spcAft>
                <a:spcPts val="0"/>
              </a:spcAft>
            </a:pPr>
            <a:r>
              <a:rPr lang="en-US" sz="1600" b="1" dirty="0">
                <a:solidFill>
                  <a:schemeClr val="bg2">
                    <a:lumMod val="75000"/>
                  </a:schemeClr>
                </a:solidFill>
                <a:latin typeface="Arial"/>
                <a:cs typeface="Arial"/>
              </a:rPr>
              <a:t>Deployment and Onboarding</a:t>
            </a:r>
            <a:r>
              <a:rPr lang="en-US" sz="1600" dirty="0">
                <a:solidFill>
                  <a:schemeClr val="bg2">
                    <a:lumMod val="75000"/>
                  </a:schemeClr>
                </a:solidFill>
                <a:latin typeface="Arial"/>
                <a:cs typeface="Arial"/>
              </a:rPr>
              <a:t>: Launch the web application securely, test functionalities, and onboard pilot users with training.</a:t>
            </a:r>
          </a:p>
          <a:p>
            <a:pPr marL="0" indent="-344170" algn="just">
              <a:spcBef>
                <a:spcPts val="120"/>
              </a:spcBef>
              <a:spcAft>
                <a:spcPts val="0"/>
              </a:spcAft>
            </a:pPr>
            <a:r>
              <a:rPr lang="en-US" sz="1600" b="1" dirty="0">
                <a:solidFill>
                  <a:schemeClr val="bg2">
                    <a:lumMod val="75000"/>
                  </a:schemeClr>
                </a:solidFill>
                <a:latin typeface="Arial"/>
                <a:cs typeface="Arial"/>
              </a:rPr>
              <a:t>Monitoring and Updates: </a:t>
            </a:r>
            <a:r>
              <a:rPr lang="en-US" sz="1600" dirty="0">
                <a:solidFill>
                  <a:schemeClr val="bg2">
                    <a:lumMod val="75000"/>
                  </a:schemeClr>
                </a:solidFill>
                <a:latin typeface="Arial"/>
                <a:cs typeface="Arial"/>
              </a:rPr>
              <a:t>Track user feedback, refine the model, and update the application.</a:t>
            </a:r>
          </a:p>
          <a:p>
            <a:pPr marL="0" indent="-344170" algn="just">
              <a:spcBef>
                <a:spcPts val="120"/>
              </a:spcBef>
              <a:spcAft>
                <a:spcPts val="0"/>
              </a:spcAft>
            </a:pPr>
            <a:r>
              <a:rPr lang="en-US" sz="1600" b="1" dirty="0">
                <a:solidFill>
                  <a:schemeClr val="bg2">
                    <a:lumMod val="75000"/>
                  </a:schemeClr>
                </a:solidFill>
                <a:latin typeface="Arial"/>
                <a:cs typeface="Arial"/>
              </a:rPr>
              <a:t>Rollout and Review: </a:t>
            </a:r>
            <a:r>
              <a:rPr lang="en-US" sz="1600" dirty="0">
                <a:solidFill>
                  <a:schemeClr val="bg2">
                    <a:lumMod val="75000"/>
                  </a:schemeClr>
                </a:solidFill>
                <a:latin typeface="Arial"/>
                <a:cs typeface="Arial"/>
              </a:rPr>
              <a:t>Expand the user base, offer support, and review performance with detailed reports.</a:t>
            </a:r>
          </a:p>
        </p:txBody>
      </p:sp>
    </p:spTree>
    <p:custDataLst>
      <p:tags r:id="rId1"/>
    </p:custDataLst>
    <p:extLst>
      <p:ext uri="{BB962C8B-B14F-4D97-AF65-F5344CB8AC3E}">
        <p14:creationId xmlns:p14="http://schemas.microsoft.com/office/powerpoint/2010/main" val="17785034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474294" y="-128206"/>
            <a:ext cx="10515600" cy="811922"/>
          </a:xfrm>
        </p:spPr>
        <p:txBody>
          <a:bodyPr/>
          <a:lstStyle/>
          <a:p>
            <a:r>
              <a:rPr lang="en-US" sz="3200" b="1" dirty="0"/>
              <a:t>Outcome and Methodology</a:t>
            </a:r>
            <a:endParaRPr lang="en-US" sz="1800" i="1" dirty="0">
              <a:highlight>
                <a:srgbClr val="FFFF00"/>
              </a:highligh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326923" y="683716"/>
            <a:ext cx="11041380" cy="1797205"/>
          </a:xfrm>
        </p:spPr>
        <p:txBody>
          <a:bodyPr/>
          <a:lstStyle/>
          <a:p>
            <a:pPr marL="0" indent="0">
              <a:buNone/>
            </a:pPr>
            <a:r>
              <a:rPr lang="en-US" sz="2000" b="1" dirty="0">
                <a:solidFill>
                  <a:srgbClr val="0064AF"/>
                </a:solidFill>
              </a:rPr>
              <a:t>1. Dataset Description and Exploration :</a:t>
            </a:r>
          </a:p>
          <a:p>
            <a:pPr algn="just">
              <a:lnSpc>
                <a:spcPct val="150000"/>
              </a:lnSpc>
            </a:pPr>
            <a:r>
              <a:rPr lang="en-US" sz="1800" dirty="0">
                <a:solidFill>
                  <a:srgbClr val="0064AF"/>
                </a:solidFill>
              </a:rPr>
              <a:t>The dataset tracks smart home device usage, capturing metrics like device type, daily usage hours, energy consumption, user preferences, malfunction incidents, and device age, with the target variable indicating device efficiency (0 - Inefficient, 1 - Efficient). </a:t>
            </a: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298795" y="3224100"/>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Diagram 8">
            <a:extLst>
              <a:ext uri="{FF2B5EF4-FFF2-40B4-BE49-F238E27FC236}">
                <a16:creationId xmlns:a16="http://schemas.microsoft.com/office/drawing/2014/main" id="{48AB3BDB-635F-2A49-F457-2DD742555B1C}"/>
              </a:ext>
            </a:extLst>
          </p:cNvPr>
          <p:cNvGraphicFramePr/>
          <p:nvPr>
            <p:extLst>
              <p:ext uri="{D42A27DB-BD31-4B8C-83A1-F6EECF244321}">
                <p14:modId xmlns:p14="http://schemas.microsoft.com/office/powerpoint/2010/main" val="1707189750"/>
              </p:ext>
            </p:extLst>
          </p:nvPr>
        </p:nvGraphicFramePr>
        <p:xfrm>
          <a:off x="691765" y="2480921"/>
          <a:ext cx="8440772" cy="3693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69B89921-D272-B54B-8742-C3627ABEF93C}"/>
              </a:ext>
            </a:extLst>
          </p:cNvPr>
          <p:cNvGrpSpPr/>
          <p:nvPr/>
        </p:nvGrpSpPr>
        <p:grpSpPr>
          <a:xfrm>
            <a:off x="9242180" y="2585972"/>
            <a:ext cx="2625356" cy="489600"/>
            <a:chOff x="5686952" y="100998"/>
            <a:chExt cx="2104390" cy="489600"/>
          </a:xfrm>
        </p:grpSpPr>
        <p:sp>
          <p:nvSpPr>
            <p:cNvPr id="14" name="Rectangle 13">
              <a:extLst>
                <a:ext uri="{FF2B5EF4-FFF2-40B4-BE49-F238E27FC236}">
                  <a16:creationId xmlns:a16="http://schemas.microsoft.com/office/drawing/2014/main" id="{39B52077-07A5-79D9-4679-4D86F33CD798}"/>
                </a:ext>
              </a:extLst>
            </p:cNvPr>
            <p:cNvSpPr/>
            <p:nvPr/>
          </p:nvSpPr>
          <p:spPr>
            <a:xfrm>
              <a:off x="5686952" y="100998"/>
              <a:ext cx="2104390" cy="48960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CA5BECBA-CEBC-6057-2844-933764B6ADDB}"/>
                </a:ext>
              </a:extLst>
            </p:cNvPr>
            <p:cNvSpPr txBox="1"/>
            <p:nvPr/>
          </p:nvSpPr>
          <p:spPr>
            <a:xfrm>
              <a:off x="5686952" y="100998"/>
              <a:ext cx="2104390"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t>Data S</a:t>
              </a:r>
              <a:r>
                <a:rPr lang="en-US" sz="1700" b="1" dirty="0"/>
                <a:t>plitting</a:t>
              </a:r>
              <a:endParaRPr lang="en-IN" sz="1700" b="1" kern="1200" dirty="0"/>
            </a:p>
          </p:txBody>
        </p:sp>
      </p:grpSp>
      <p:grpSp>
        <p:nvGrpSpPr>
          <p:cNvPr id="11" name="Group 10">
            <a:extLst>
              <a:ext uri="{FF2B5EF4-FFF2-40B4-BE49-F238E27FC236}">
                <a16:creationId xmlns:a16="http://schemas.microsoft.com/office/drawing/2014/main" id="{4F4AE1B1-15F7-8C87-4CFE-B21E4DC6A730}"/>
              </a:ext>
            </a:extLst>
          </p:cNvPr>
          <p:cNvGrpSpPr/>
          <p:nvPr/>
        </p:nvGrpSpPr>
        <p:grpSpPr>
          <a:xfrm>
            <a:off x="9242180" y="3075572"/>
            <a:ext cx="2625356" cy="3001765"/>
            <a:chOff x="5686952" y="590598"/>
            <a:chExt cx="2104390" cy="3001765"/>
          </a:xfrm>
        </p:grpSpPr>
        <p:sp>
          <p:nvSpPr>
            <p:cNvPr id="12" name="Rectangle 11">
              <a:extLst>
                <a:ext uri="{FF2B5EF4-FFF2-40B4-BE49-F238E27FC236}">
                  <a16:creationId xmlns:a16="http://schemas.microsoft.com/office/drawing/2014/main" id="{8DC4547E-2C32-6FA1-2648-CC0C985D6C7E}"/>
                </a:ext>
              </a:extLst>
            </p:cNvPr>
            <p:cNvSpPr/>
            <p:nvPr/>
          </p:nvSpPr>
          <p:spPr>
            <a:xfrm>
              <a:off x="5686952" y="590598"/>
              <a:ext cx="2104390" cy="300176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id="{9A47D3E2-30DB-1653-3193-ABC38B0368F9}"/>
                </a:ext>
              </a:extLst>
            </p:cNvPr>
            <p:cNvSpPr txBox="1"/>
            <p:nvPr/>
          </p:nvSpPr>
          <p:spPr>
            <a:xfrm>
              <a:off x="5686952" y="590598"/>
              <a:ext cx="2104390" cy="30017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just" defTabSz="755650">
                <a:spcBef>
                  <a:spcPct val="0"/>
                </a:spcBef>
                <a:spcAft>
                  <a:spcPct val="15000"/>
                </a:spcAft>
                <a:buChar char="•"/>
              </a:pPr>
              <a:r>
                <a:rPr lang="en-US" dirty="0"/>
                <a:t>Divided the dataset into </a:t>
              </a:r>
              <a:r>
                <a:rPr lang="en-US" b="1" dirty="0"/>
                <a:t>training (67%) and test (33%) sets </a:t>
              </a:r>
              <a:r>
                <a:rPr lang="en-US" dirty="0"/>
                <a:t>to train and also evaluate model performance on unseen data.</a:t>
              </a:r>
              <a:endParaRPr lang="en-IN" kern="1200" dirty="0"/>
            </a:p>
          </p:txBody>
        </p:sp>
      </p:grpSp>
    </p:spTree>
    <p:custDataLst>
      <p:tags r:id="rId1"/>
    </p:custDataLst>
    <p:extLst>
      <p:ext uri="{BB962C8B-B14F-4D97-AF65-F5344CB8AC3E}">
        <p14:creationId xmlns:p14="http://schemas.microsoft.com/office/powerpoint/2010/main" val="291483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130165" y="-117987"/>
            <a:ext cx="10515600" cy="811922"/>
          </a:xfrm>
        </p:spPr>
        <p:txBody>
          <a:bodyPr/>
          <a:lstStyle/>
          <a:p>
            <a:r>
              <a:rPr lang="en-US" sz="3200" b="1" dirty="0"/>
              <a:t>Outcome and Methodology</a:t>
            </a:r>
            <a:endParaRPr lang="en-US" sz="1800" i="1" dirty="0">
              <a:highlight>
                <a:srgbClr val="FFFF00"/>
              </a:highlight>
            </a:endParaRPr>
          </a:p>
        </p:txBody>
      </p:sp>
      <p:graphicFrame>
        <p:nvGraphicFramePr>
          <p:cNvPr id="7" name="Table 6">
            <a:extLst>
              <a:ext uri="{FF2B5EF4-FFF2-40B4-BE49-F238E27FC236}">
                <a16:creationId xmlns:a16="http://schemas.microsoft.com/office/drawing/2014/main" id="{D44E8E34-A7AD-E302-EF07-EE39F2F220DB}"/>
              </a:ext>
            </a:extLst>
          </p:cNvPr>
          <p:cNvGraphicFramePr>
            <a:graphicFrameLocks noGrp="1"/>
          </p:cNvGraphicFramePr>
          <p:nvPr>
            <p:extLst>
              <p:ext uri="{D42A27DB-BD31-4B8C-83A1-F6EECF244321}">
                <p14:modId xmlns:p14="http://schemas.microsoft.com/office/powerpoint/2010/main" val="2266189431"/>
              </p:ext>
            </p:extLst>
          </p:nvPr>
        </p:nvGraphicFramePr>
        <p:xfrm>
          <a:off x="206475" y="1713237"/>
          <a:ext cx="11779050" cy="3662516"/>
        </p:xfrm>
        <a:graphic>
          <a:graphicData uri="http://schemas.openxmlformats.org/drawingml/2006/table">
            <a:tbl>
              <a:tblPr firstRow="1" bandRow="1">
                <a:tableStyleId>{5C22544A-7EE6-4342-B048-85BDC9FD1C3A}</a:tableStyleId>
              </a:tblPr>
              <a:tblGrid>
                <a:gridCol w="1963175">
                  <a:extLst>
                    <a:ext uri="{9D8B030D-6E8A-4147-A177-3AD203B41FA5}">
                      <a16:colId xmlns:a16="http://schemas.microsoft.com/office/drawing/2014/main" val="20000"/>
                    </a:ext>
                  </a:extLst>
                </a:gridCol>
                <a:gridCol w="1963175">
                  <a:extLst>
                    <a:ext uri="{9D8B030D-6E8A-4147-A177-3AD203B41FA5}">
                      <a16:colId xmlns:a16="http://schemas.microsoft.com/office/drawing/2014/main" val="20001"/>
                    </a:ext>
                  </a:extLst>
                </a:gridCol>
                <a:gridCol w="1963175">
                  <a:extLst>
                    <a:ext uri="{9D8B030D-6E8A-4147-A177-3AD203B41FA5}">
                      <a16:colId xmlns:a16="http://schemas.microsoft.com/office/drawing/2014/main" val="20002"/>
                    </a:ext>
                  </a:extLst>
                </a:gridCol>
                <a:gridCol w="1963175">
                  <a:extLst>
                    <a:ext uri="{9D8B030D-6E8A-4147-A177-3AD203B41FA5}">
                      <a16:colId xmlns:a16="http://schemas.microsoft.com/office/drawing/2014/main" val="3604843362"/>
                    </a:ext>
                  </a:extLst>
                </a:gridCol>
                <a:gridCol w="1963175">
                  <a:extLst>
                    <a:ext uri="{9D8B030D-6E8A-4147-A177-3AD203B41FA5}">
                      <a16:colId xmlns:a16="http://schemas.microsoft.com/office/drawing/2014/main" val="1171883786"/>
                    </a:ext>
                  </a:extLst>
                </a:gridCol>
                <a:gridCol w="1963175">
                  <a:extLst>
                    <a:ext uri="{9D8B030D-6E8A-4147-A177-3AD203B41FA5}">
                      <a16:colId xmlns:a16="http://schemas.microsoft.com/office/drawing/2014/main" val="3779403870"/>
                    </a:ext>
                  </a:extLst>
                </a:gridCol>
              </a:tblGrid>
              <a:tr h="754048">
                <a:tc>
                  <a:txBody>
                    <a:bodyPr/>
                    <a:lstStyle/>
                    <a:p>
                      <a:r>
                        <a:rPr dirty="0"/>
                        <a:t>Metric</a:t>
                      </a:r>
                    </a:p>
                  </a:txBody>
                  <a:tcPr/>
                </a:tc>
                <a:tc>
                  <a:txBody>
                    <a:bodyPr/>
                    <a:lstStyle/>
                    <a:p>
                      <a:r>
                        <a:rPr dirty="0"/>
                        <a:t>Logistic Regression</a:t>
                      </a:r>
                    </a:p>
                  </a:txBody>
                  <a:tcPr/>
                </a:tc>
                <a:tc>
                  <a:txBody>
                    <a:bodyPr/>
                    <a:lstStyle/>
                    <a:p>
                      <a:r>
                        <a:rPr dirty="0"/>
                        <a:t>Random Forest </a:t>
                      </a:r>
                      <a:r>
                        <a:rPr lang="en-US" dirty="0"/>
                        <a:t>  </a:t>
                      </a:r>
                      <a:r>
                        <a:rPr dirty="0"/>
                        <a:t>Classifier</a:t>
                      </a:r>
                    </a:p>
                  </a:txBody>
                  <a:tcPr/>
                </a:tc>
                <a:tc>
                  <a:txBody>
                    <a:bodyPr/>
                    <a:lstStyle/>
                    <a:p>
                      <a:pPr algn="ctr"/>
                      <a:r>
                        <a:rPr lang="en-US" dirty="0"/>
                        <a:t>    Decision Tree </a:t>
                      </a:r>
                      <a:endParaRPr dirty="0"/>
                    </a:p>
                  </a:txBody>
                  <a:tcPr/>
                </a:tc>
                <a:tc>
                  <a:txBody>
                    <a:bodyPr/>
                    <a:lstStyle/>
                    <a:p>
                      <a:r>
                        <a:rPr lang="en-US" dirty="0"/>
                        <a:t>K-Nearest </a:t>
                      </a:r>
                      <a:r>
                        <a:rPr lang="en-US" dirty="0" err="1"/>
                        <a:t>Neighbour</a:t>
                      </a:r>
                      <a:endParaRPr dirty="0"/>
                    </a:p>
                  </a:txBody>
                  <a:tcPr/>
                </a:tc>
                <a:tc>
                  <a:txBody>
                    <a:bodyPr/>
                    <a:lstStyle/>
                    <a:p>
                      <a:r>
                        <a:rPr lang="en-US" dirty="0"/>
                        <a:t>Support Vector Classifier</a:t>
                      </a:r>
                      <a:endParaRPr dirty="0"/>
                    </a:p>
                  </a:txBody>
                  <a:tcPr/>
                </a:tc>
                <a:extLst>
                  <a:ext uri="{0D108BD9-81ED-4DB2-BD59-A6C34878D82A}">
                    <a16:rowId xmlns:a16="http://schemas.microsoft.com/office/drawing/2014/main" val="10000"/>
                  </a:ext>
                </a:extLst>
              </a:tr>
              <a:tr h="430884">
                <a:tc>
                  <a:txBody>
                    <a:bodyPr/>
                    <a:lstStyle/>
                    <a:p>
                      <a:r>
                        <a:t>Train Accuracy</a:t>
                      </a:r>
                    </a:p>
                  </a:txBody>
                  <a:tcPr/>
                </a:tc>
                <a:tc>
                  <a:txBody>
                    <a:bodyPr/>
                    <a:lstStyle/>
                    <a:p>
                      <a:r>
                        <a:rPr dirty="0"/>
                        <a:t>87.73%</a:t>
                      </a:r>
                    </a:p>
                  </a:txBody>
                  <a:tcPr/>
                </a:tc>
                <a:tc>
                  <a:txBody>
                    <a:bodyPr/>
                    <a:lstStyle/>
                    <a:p>
                      <a:r>
                        <a:rPr dirty="0"/>
                        <a:t>100%</a:t>
                      </a:r>
                    </a:p>
                  </a:txBody>
                  <a:tcPr/>
                </a:tc>
                <a:tc>
                  <a:txBody>
                    <a:bodyPr/>
                    <a:lstStyle/>
                    <a:p>
                      <a:r>
                        <a:rPr lang="en-US" dirty="0"/>
                        <a:t>100%</a:t>
                      </a:r>
                      <a:endParaRPr dirty="0"/>
                    </a:p>
                  </a:txBody>
                  <a:tcPr/>
                </a:tc>
                <a:tc>
                  <a:txBody>
                    <a:bodyPr/>
                    <a:lstStyle/>
                    <a:p>
                      <a:r>
                        <a:rPr lang="en-US" dirty="0"/>
                        <a:t>95%</a:t>
                      </a:r>
                      <a:endParaRPr dirty="0"/>
                    </a:p>
                  </a:txBody>
                  <a:tcPr/>
                </a:tc>
                <a:tc>
                  <a:txBody>
                    <a:bodyPr/>
                    <a:lstStyle/>
                    <a:p>
                      <a:r>
                        <a:rPr lang="en-US" dirty="0"/>
                        <a:t>92%</a:t>
                      </a:r>
                      <a:endParaRPr dirty="0"/>
                    </a:p>
                  </a:txBody>
                  <a:tcPr/>
                </a:tc>
                <a:extLst>
                  <a:ext uri="{0D108BD9-81ED-4DB2-BD59-A6C34878D82A}">
                    <a16:rowId xmlns:a16="http://schemas.microsoft.com/office/drawing/2014/main" val="10001"/>
                  </a:ext>
                </a:extLst>
              </a:tr>
              <a:tr h="430884">
                <a:tc>
                  <a:txBody>
                    <a:bodyPr/>
                    <a:lstStyle/>
                    <a:p>
                      <a:r>
                        <a:t>Test Accuracy</a:t>
                      </a:r>
                    </a:p>
                  </a:txBody>
                  <a:tcPr/>
                </a:tc>
                <a:tc>
                  <a:txBody>
                    <a:bodyPr/>
                    <a:lstStyle/>
                    <a:p>
                      <a:r>
                        <a:t>86%</a:t>
                      </a:r>
                    </a:p>
                  </a:txBody>
                  <a:tcPr/>
                </a:tc>
                <a:tc>
                  <a:txBody>
                    <a:bodyPr/>
                    <a:lstStyle/>
                    <a:p>
                      <a:r>
                        <a:rPr dirty="0"/>
                        <a:t>95%</a:t>
                      </a:r>
                    </a:p>
                  </a:txBody>
                  <a:tcPr/>
                </a:tc>
                <a:tc>
                  <a:txBody>
                    <a:bodyPr/>
                    <a:lstStyle/>
                    <a:p>
                      <a:r>
                        <a:rPr lang="en-US" dirty="0"/>
                        <a:t>89%</a:t>
                      </a:r>
                      <a:endParaRPr dirty="0"/>
                    </a:p>
                  </a:txBody>
                  <a:tcPr/>
                </a:tc>
                <a:tc>
                  <a:txBody>
                    <a:bodyPr/>
                    <a:lstStyle/>
                    <a:p>
                      <a:r>
                        <a:rPr lang="en-US" dirty="0"/>
                        <a:t>93%</a:t>
                      </a:r>
                      <a:endParaRPr dirty="0"/>
                    </a:p>
                  </a:txBody>
                  <a:tcPr/>
                </a:tc>
                <a:tc>
                  <a:txBody>
                    <a:bodyPr/>
                    <a:lstStyle/>
                    <a:p>
                      <a:r>
                        <a:rPr lang="en-US" dirty="0"/>
                        <a:t>91%</a:t>
                      </a:r>
                      <a:endParaRPr dirty="0"/>
                    </a:p>
                  </a:txBody>
                  <a:tcPr/>
                </a:tc>
                <a:extLst>
                  <a:ext uri="{0D108BD9-81ED-4DB2-BD59-A6C34878D82A}">
                    <a16:rowId xmlns:a16="http://schemas.microsoft.com/office/drawing/2014/main" val="10002"/>
                  </a:ext>
                </a:extLst>
              </a:tr>
              <a:tr h="430884">
                <a:tc>
                  <a:txBody>
                    <a:bodyPr/>
                    <a:lstStyle/>
                    <a:p>
                      <a:r>
                        <a:t>Precision (Average)</a:t>
                      </a:r>
                    </a:p>
                  </a:txBody>
                  <a:tcPr/>
                </a:tc>
                <a:tc>
                  <a:txBody>
                    <a:bodyPr/>
                    <a:lstStyle/>
                    <a:p>
                      <a:r>
                        <a:rPr dirty="0"/>
                        <a:t>0.87</a:t>
                      </a:r>
                    </a:p>
                  </a:txBody>
                  <a:tcPr/>
                </a:tc>
                <a:tc>
                  <a:txBody>
                    <a:bodyPr/>
                    <a:lstStyle/>
                    <a:p>
                      <a:r>
                        <a:rPr dirty="0"/>
                        <a:t>0.95</a:t>
                      </a:r>
                    </a:p>
                  </a:txBody>
                  <a:tcPr/>
                </a:tc>
                <a:tc>
                  <a:txBody>
                    <a:bodyPr/>
                    <a:lstStyle/>
                    <a:p>
                      <a:r>
                        <a:rPr lang="en-US" dirty="0"/>
                        <a:t>0.89</a:t>
                      </a:r>
                      <a:endParaRPr dirty="0"/>
                    </a:p>
                  </a:txBody>
                  <a:tcPr/>
                </a:tc>
                <a:tc>
                  <a:txBody>
                    <a:bodyPr/>
                    <a:lstStyle/>
                    <a:p>
                      <a:r>
                        <a:rPr lang="en-US" dirty="0"/>
                        <a:t>0.90</a:t>
                      </a:r>
                      <a:endParaRPr dirty="0"/>
                    </a:p>
                  </a:txBody>
                  <a:tcPr/>
                </a:tc>
                <a:tc>
                  <a:txBody>
                    <a:bodyPr/>
                    <a:lstStyle/>
                    <a:p>
                      <a:r>
                        <a:rPr lang="en-US" dirty="0"/>
                        <a:t>0.91</a:t>
                      </a:r>
                      <a:endParaRPr dirty="0"/>
                    </a:p>
                  </a:txBody>
                  <a:tcPr/>
                </a:tc>
                <a:extLst>
                  <a:ext uri="{0D108BD9-81ED-4DB2-BD59-A6C34878D82A}">
                    <a16:rowId xmlns:a16="http://schemas.microsoft.com/office/drawing/2014/main" val="10003"/>
                  </a:ext>
                </a:extLst>
              </a:tr>
              <a:tr h="430884">
                <a:tc>
                  <a:txBody>
                    <a:bodyPr/>
                    <a:lstStyle/>
                    <a:p>
                      <a:r>
                        <a:t>Recall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4"/>
                  </a:ext>
                </a:extLst>
              </a:tr>
              <a:tr h="430884">
                <a:tc>
                  <a:txBody>
                    <a:bodyPr/>
                    <a:lstStyle/>
                    <a:p>
                      <a:r>
                        <a:t>F1-Score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5"/>
                  </a:ext>
                </a:extLst>
              </a:tr>
              <a:tr h="754048">
                <a:tc>
                  <a:txBody>
                    <a:bodyPr/>
                    <a:lstStyle/>
                    <a:p>
                      <a:r>
                        <a:t>Overall Model Performance</a:t>
                      </a:r>
                    </a:p>
                  </a:txBody>
                  <a:tcPr/>
                </a:tc>
                <a:tc>
                  <a:txBody>
                    <a:bodyPr/>
                    <a:lstStyle/>
                    <a:p>
                      <a:r>
                        <a:rPr lang="en-US" dirty="0"/>
                        <a:t>Average</a:t>
                      </a:r>
                      <a:endParaRPr dirty="0"/>
                    </a:p>
                  </a:txBody>
                  <a:tcPr/>
                </a:tc>
                <a:tc>
                  <a:txBody>
                    <a:bodyPr/>
                    <a:lstStyle/>
                    <a:p>
                      <a:r>
                        <a:rPr dirty="0"/>
                        <a:t>Excellent</a:t>
                      </a:r>
                    </a:p>
                  </a:txBody>
                  <a:tcPr/>
                </a:tc>
                <a:tc>
                  <a:txBody>
                    <a:bodyPr/>
                    <a:lstStyle/>
                    <a:p>
                      <a:r>
                        <a:rPr lang="en-US" dirty="0"/>
                        <a:t>Average</a:t>
                      </a:r>
                      <a:endParaRPr dirty="0"/>
                    </a:p>
                  </a:txBody>
                  <a:tcPr/>
                </a:tc>
                <a:tc>
                  <a:txBody>
                    <a:bodyPr/>
                    <a:lstStyle/>
                    <a:p>
                      <a:r>
                        <a:rPr lang="en-US" dirty="0"/>
                        <a:t>Good</a:t>
                      </a:r>
                      <a:endParaRPr dirty="0"/>
                    </a:p>
                  </a:txBody>
                  <a:tcPr/>
                </a:tc>
                <a:tc>
                  <a:txBody>
                    <a:bodyPr/>
                    <a:lstStyle/>
                    <a:p>
                      <a:r>
                        <a:rPr lang="en-US" dirty="0"/>
                        <a:t>Good</a:t>
                      </a:r>
                      <a:endParaRPr dirty="0"/>
                    </a:p>
                  </a:txBody>
                  <a:tcPr/>
                </a:tc>
                <a:extLst>
                  <a:ext uri="{0D108BD9-81ED-4DB2-BD59-A6C34878D82A}">
                    <a16:rowId xmlns:a16="http://schemas.microsoft.com/office/drawing/2014/main" val="10006"/>
                  </a:ext>
                </a:extLst>
              </a:tr>
            </a:tbl>
          </a:graphicData>
        </a:graphic>
      </p:graphicFrame>
      <p:sp>
        <p:nvSpPr>
          <p:cNvPr id="8" name="TextBox 7">
            <a:extLst>
              <a:ext uri="{FF2B5EF4-FFF2-40B4-BE49-F238E27FC236}">
                <a16:creationId xmlns:a16="http://schemas.microsoft.com/office/drawing/2014/main" id="{D052E652-B8A3-AC90-E07C-831AE54A7DC5}"/>
              </a:ext>
            </a:extLst>
          </p:cNvPr>
          <p:cNvSpPr txBox="1"/>
          <p:nvPr/>
        </p:nvSpPr>
        <p:spPr>
          <a:xfrm>
            <a:off x="206475" y="559367"/>
            <a:ext cx="11779050" cy="1015663"/>
          </a:xfrm>
          <a:prstGeom prst="rect">
            <a:avLst/>
          </a:prstGeom>
          <a:noFill/>
        </p:spPr>
        <p:txBody>
          <a:bodyPr wrap="square" rtlCol="0">
            <a:spAutoFit/>
          </a:bodyPr>
          <a:lstStyle/>
          <a:p>
            <a:pPr algn="just"/>
            <a:r>
              <a:rPr lang="en-US" sz="2400" b="1" dirty="0">
                <a:solidFill>
                  <a:srgbClr val="0070C0"/>
                </a:solidFill>
              </a:rPr>
              <a:t>2. Developing the ML models :</a:t>
            </a:r>
          </a:p>
          <a:p>
            <a:pPr algn="just"/>
            <a:r>
              <a:rPr lang="en-US" dirty="0"/>
              <a:t>We evaluate the performance of five machine learning models after training with the given data : Logistic Regression , Random Forest Classifier , Decision Tree, K-nearest </a:t>
            </a:r>
            <a:r>
              <a:rPr lang="en-US" dirty="0" err="1"/>
              <a:t>neighbour</a:t>
            </a:r>
            <a:r>
              <a:rPr lang="en-US" dirty="0"/>
              <a:t> and Support Vector Classifier and below are the outcomes.</a:t>
            </a:r>
            <a:endParaRPr lang="en-IN" dirty="0"/>
          </a:p>
        </p:txBody>
      </p:sp>
      <p:sp>
        <p:nvSpPr>
          <p:cNvPr id="16" name="TextBox 15">
            <a:extLst>
              <a:ext uri="{FF2B5EF4-FFF2-40B4-BE49-F238E27FC236}">
                <a16:creationId xmlns:a16="http://schemas.microsoft.com/office/drawing/2014/main" id="{32058377-0986-FAA4-0677-0061673BE331}"/>
              </a:ext>
            </a:extLst>
          </p:cNvPr>
          <p:cNvSpPr txBox="1"/>
          <p:nvPr/>
        </p:nvSpPr>
        <p:spPr>
          <a:xfrm>
            <a:off x="0" y="5472139"/>
            <a:ext cx="12113344" cy="1200329"/>
          </a:xfrm>
          <a:prstGeom prst="rect">
            <a:avLst/>
          </a:prstGeom>
          <a:noFill/>
        </p:spPr>
        <p:txBody>
          <a:bodyPr wrap="square" rtlCol="0">
            <a:spAutoFit/>
          </a:bodyPr>
          <a:lstStyle/>
          <a:p>
            <a:pPr marL="285750" indent="-285750" algn="just">
              <a:buFont typeface="Arial" panose="020B0604020202020204" pitchFamily="34" charset="0"/>
              <a:buChar char="•"/>
            </a:pPr>
            <a:r>
              <a:rPr lang="en-US" dirty="0"/>
              <a:t>Random Forest Classifier stands out with excellent performance, achieving perfect training accuracy and the highest test accuracy (95%) among the models.</a:t>
            </a:r>
          </a:p>
          <a:p>
            <a:pPr marL="285750" indent="-285750" algn="just">
              <a:buFont typeface="Arial" panose="020B0604020202020204" pitchFamily="34" charset="0"/>
              <a:buChar char="•"/>
            </a:pPr>
            <a:r>
              <a:rPr lang="en-US" dirty="0"/>
              <a:t>Logistic Regression, Decision Tree, K-Nearest Neighbors, and Support Vector Classifier have good overall performance, with KNN and SVC showing slightly better precision, recall, and F1-scores compared to Logistic Regression and Decision Tree.</a:t>
            </a:r>
            <a:endParaRPr lang="en-IN" dirty="0"/>
          </a:p>
        </p:txBody>
      </p:sp>
    </p:spTree>
    <p:custDataLst>
      <p:tags r:id="rId1"/>
    </p:custDataLst>
    <p:extLst>
      <p:ext uri="{BB962C8B-B14F-4D97-AF65-F5344CB8AC3E}">
        <p14:creationId xmlns:p14="http://schemas.microsoft.com/office/powerpoint/2010/main" val="3037094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3EC414-F4BA-BBD2-02EF-24318BA15E8D}"/>
              </a:ext>
            </a:extLst>
          </p:cNvPr>
          <p:cNvSpPr/>
          <p:nvPr/>
        </p:nvSpPr>
        <p:spPr>
          <a:xfrm>
            <a:off x="371304" y="120693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Data Loading &amp; Thresholds Definition</a:t>
            </a:r>
            <a:r>
              <a:rPr lang="en-US" b="1" dirty="0"/>
              <a:t> </a:t>
            </a:r>
          </a:p>
          <a:p>
            <a:pPr algn="ctr"/>
            <a:r>
              <a:rPr lang="en-US" dirty="0"/>
              <a:t>Load device statistics from the dataset and define thresholds for features.</a:t>
            </a:r>
            <a:endParaRPr lang="en-IN" dirty="0"/>
          </a:p>
        </p:txBody>
      </p:sp>
      <p:sp>
        <p:nvSpPr>
          <p:cNvPr id="5" name="Rectangle 4">
            <a:extLst>
              <a:ext uri="{FF2B5EF4-FFF2-40B4-BE49-F238E27FC236}">
                <a16:creationId xmlns:a16="http://schemas.microsoft.com/office/drawing/2014/main" id="{83A91EE2-E2D8-B6CC-B802-1691A6C0D1B3}"/>
              </a:ext>
            </a:extLst>
          </p:cNvPr>
          <p:cNvSpPr/>
          <p:nvPr/>
        </p:nvSpPr>
        <p:spPr>
          <a:xfrm>
            <a:off x="322626" y="266210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User Input &amp; Data Collection</a:t>
            </a:r>
          </a:p>
          <a:p>
            <a:pPr algn="ctr"/>
            <a:r>
              <a:rPr lang="en-US" dirty="0"/>
              <a:t>Users input details for multiple appliances (type, usage hours, etc.).</a:t>
            </a:r>
            <a:endParaRPr lang="en-IN" dirty="0"/>
          </a:p>
        </p:txBody>
      </p:sp>
      <p:sp>
        <p:nvSpPr>
          <p:cNvPr id="6" name="Rectangle 5">
            <a:extLst>
              <a:ext uri="{FF2B5EF4-FFF2-40B4-BE49-F238E27FC236}">
                <a16:creationId xmlns:a16="http://schemas.microsoft.com/office/drawing/2014/main" id="{8D4B4E64-E26A-C6BD-F842-1F787DE33D4C}"/>
              </a:ext>
            </a:extLst>
          </p:cNvPr>
          <p:cNvSpPr/>
          <p:nvPr/>
        </p:nvSpPr>
        <p:spPr>
          <a:xfrm>
            <a:off x="322626" y="423278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Rule-Based Suggestions</a:t>
            </a:r>
          </a:p>
          <a:p>
            <a:pPr algn="ctr"/>
            <a:r>
              <a:rPr lang="en-US" dirty="0"/>
              <a:t>Apply predefined rules to assess efficiency and generate basic suggestions.</a:t>
            </a:r>
            <a:endParaRPr lang="en-IN" dirty="0"/>
          </a:p>
        </p:txBody>
      </p:sp>
      <p:sp>
        <p:nvSpPr>
          <p:cNvPr id="7" name="Rectangle 6">
            <a:extLst>
              <a:ext uri="{FF2B5EF4-FFF2-40B4-BE49-F238E27FC236}">
                <a16:creationId xmlns:a16="http://schemas.microsoft.com/office/drawing/2014/main" id="{3534B048-B59C-FE46-1BBA-B2704EF5F9DB}"/>
              </a:ext>
            </a:extLst>
          </p:cNvPr>
          <p:cNvSpPr/>
          <p:nvPr/>
        </p:nvSpPr>
        <p:spPr>
          <a:xfrm>
            <a:off x="304171" y="581579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AI-Based Suggestions</a:t>
            </a:r>
          </a:p>
          <a:p>
            <a:pPr algn="ctr"/>
            <a:r>
              <a:rPr lang="en-US" dirty="0"/>
              <a:t>Use Google </a:t>
            </a:r>
            <a:r>
              <a:rPr lang="en-US" dirty="0" err="1"/>
              <a:t>PaLM</a:t>
            </a:r>
            <a:r>
              <a:rPr lang="en-US" dirty="0"/>
              <a:t> to generate additional suggestions for improving sustainability.</a:t>
            </a:r>
            <a:endParaRPr lang="en-IN" dirty="0"/>
          </a:p>
        </p:txBody>
      </p:sp>
      <p:sp>
        <p:nvSpPr>
          <p:cNvPr id="9" name="Rectangle 8">
            <a:extLst>
              <a:ext uri="{FF2B5EF4-FFF2-40B4-BE49-F238E27FC236}">
                <a16:creationId xmlns:a16="http://schemas.microsoft.com/office/drawing/2014/main" id="{4B0C981F-F9DD-A781-6DAF-F6F0C8C08890}"/>
              </a:ext>
            </a:extLst>
          </p:cNvPr>
          <p:cNvSpPr/>
          <p:nvPr/>
        </p:nvSpPr>
        <p:spPr>
          <a:xfrm>
            <a:off x="6335662" y="115758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User Interface</a:t>
            </a:r>
          </a:p>
          <a:p>
            <a:pPr algn="ctr"/>
            <a:r>
              <a:rPr lang="en-US" dirty="0"/>
              <a:t>Interactive interface created with </a:t>
            </a:r>
            <a:r>
              <a:rPr lang="en-US" dirty="0" err="1"/>
              <a:t>Streamlit</a:t>
            </a:r>
            <a:r>
              <a:rPr lang="en-US" dirty="0"/>
              <a:t> for input and results display.</a:t>
            </a:r>
            <a:endParaRPr lang="en-IN" dirty="0"/>
          </a:p>
        </p:txBody>
      </p:sp>
      <p:sp>
        <p:nvSpPr>
          <p:cNvPr id="10" name="Rectangle 9">
            <a:extLst>
              <a:ext uri="{FF2B5EF4-FFF2-40B4-BE49-F238E27FC236}">
                <a16:creationId xmlns:a16="http://schemas.microsoft.com/office/drawing/2014/main" id="{52EAA094-AB31-BEE5-87F2-7DF0288C2C39}"/>
              </a:ext>
            </a:extLst>
          </p:cNvPr>
          <p:cNvSpPr/>
          <p:nvPr/>
        </p:nvSpPr>
        <p:spPr>
          <a:xfrm>
            <a:off x="6307392" y="4257724"/>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IN" b="1" dirty="0"/>
          </a:p>
          <a:p>
            <a:pPr algn="ctr"/>
            <a:r>
              <a:rPr lang="en-IN" b="1" dirty="0"/>
              <a:t>Comparative Analysis</a:t>
            </a:r>
          </a:p>
          <a:p>
            <a:pPr algn="ctr"/>
            <a:r>
              <a:rPr lang="en-US" dirty="0"/>
              <a:t>Compare all input appliances and provide comparative recommendations.</a:t>
            </a:r>
          </a:p>
          <a:p>
            <a:pPr algn="ctr"/>
            <a:endParaRPr lang="en-IN" dirty="0"/>
          </a:p>
        </p:txBody>
      </p:sp>
      <p:sp>
        <p:nvSpPr>
          <p:cNvPr id="11" name="Rectangle 10">
            <a:extLst>
              <a:ext uri="{FF2B5EF4-FFF2-40B4-BE49-F238E27FC236}">
                <a16:creationId xmlns:a16="http://schemas.microsoft.com/office/drawing/2014/main" id="{E50EE332-A161-3225-75E2-53D736B48627}"/>
              </a:ext>
            </a:extLst>
          </p:cNvPr>
          <p:cNvSpPr/>
          <p:nvPr/>
        </p:nvSpPr>
        <p:spPr>
          <a:xfrm>
            <a:off x="6425384" y="579126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Alternative Recommendations</a:t>
            </a:r>
          </a:p>
          <a:p>
            <a:pPr algn="ctr"/>
            <a:r>
              <a:rPr lang="en-IN" dirty="0"/>
              <a:t>Suggest more sustainable alternatives for inefficient appliances.</a:t>
            </a:r>
          </a:p>
        </p:txBody>
      </p:sp>
      <p:sp>
        <p:nvSpPr>
          <p:cNvPr id="14" name="Rectangle 13">
            <a:extLst>
              <a:ext uri="{FF2B5EF4-FFF2-40B4-BE49-F238E27FC236}">
                <a16:creationId xmlns:a16="http://schemas.microsoft.com/office/drawing/2014/main" id="{55660B83-218F-3218-4CCE-DE5F46FC46A4}"/>
              </a:ext>
            </a:extLst>
          </p:cNvPr>
          <p:cNvSpPr/>
          <p:nvPr/>
        </p:nvSpPr>
        <p:spPr>
          <a:xfrm>
            <a:off x="6307392" y="2679388"/>
            <a:ext cx="4896461" cy="101746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err="1"/>
              <a:t>LangChain</a:t>
            </a:r>
            <a:r>
              <a:rPr lang="en-IN" b="1" dirty="0"/>
              <a:t> Integration</a:t>
            </a:r>
          </a:p>
          <a:p>
            <a:pPr algn="ctr"/>
            <a:r>
              <a:rPr lang="en-US" dirty="0"/>
              <a:t>Use </a:t>
            </a:r>
            <a:r>
              <a:rPr lang="en-US" dirty="0" err="1"/>
              <a:t>LangChain</a:t>
            </a:r>
            <a:r>
              <a:rPr lang="en-US" dirty="0"/>
              <a:t> to manage interactions between the application and the Google </a:t>
            </a:r>
            <a:r>
              <a:rPr lang="en-US" dirty="0" err="1"/>
              <a:t>PaLM</a:t>
            </a:r>
            <a:r>
              <a:rPr lang="en-US" dirty="0"/>
              <a:t> API, handling complex queries and responses.</a:t>
            </a:r>
            <a:endParaRPr lang="en-IN" dirty="0"/>
          </a:p>
        </p:txBody>
      </p:sp>
      <p:sp>
        <p:nvSpPr>
          <p:cNvPr id="15" name="Arrow: Right 14">
            <a:extLst>
              <a:ext uri="{FF2B5EF4-FFF2-40B4-BE49-F238E27FC236}">
                <a16:creationId xmlns:a16="http://schemas.microsoft.com/office/drawing/2014/main" id="{587568F8-3AEC-7BF6-FDF6-DB0C4DD55016}"/>
              </a:ext>
            </a:extLst>
          </p:cNvPr>
          <p:cNvSpPr/>
          <p:nvPr/>
        </p:nvSpPr>
        <p:spPr>
          <a:xfrm rot="16200000">
            <a:off x="8571704" y="2262905"/>
            <a:ext cx="603681" cy="21802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6" name="Arrow: Right 15">
            <a:extLst>
              <a:ext uri="{FF2B5EF4-FFF2-40B4-BE49-F238E27FC236}">
                <a16:creationId xmlns:a16="http://schemas.microsoft.com/office/drawing/2014/main" id="{D96D3C78-911A-AD44-3985-803946CC32FB}"/>
              </a:ext>
            </a:extLst>
          </p:cNvPr>
          <p:cNvSpPr/>
          <p:nvPr/>
        </p:nvSpPr>
        <p:spPr>
          <a:xfrm rot="5400000">
            <a:off x="2504347" y="3812113"/>
            <a:ext cx="630377" cy="210978"/>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9" name="Arrow: Right 18">
            <a:extLst>
              <a:ext uri="{FF2B5EF4-FFF2-40B4-BE49-F238E27FC236}">
                <a16:creationId xmlns:a16="http://schemas.microsoft.com/office/drawing/2014/main" id="{E113898E-6275-8A22-5E4D-764A6AA2E446}"/>
              </a:ext>
            </a:extLst>
          </p:cNvPr>
          <p:cNvSpPr/>
          <p:nvPr/>
        </p:nvSpPr>
        <p:spPr>
          <a:xfrm>
            <a:off x="5211093" y="5988268"/>
            <a:ext cx="1214291" cy="274881"/>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1" name="Arrow: Right 20">
            <a:extLst>
              <a:ext uri="{FF2B5EF4-FFF2-40B4-BE49-F238E27FC236}">
                <a16:creationId xmlns:a16="http://schemas.microsoft.com/office/drawing/2014/main" id="{6B2E48E0-918F-FCC3-6311-B7D29219371E}"/>
              </a:ext>
            </a:extLst>
          </p:cNvPr>
          <p:cNvSpPr/>
          <p:nvPr/>
        </p:nvSpPr>
        <p:spPr>
          <a:xfrm rot="5400000">
            <a:off x="2565600" y="2293030"/>
            <a:ext cx="518652" cy="200197"/>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2" name="Arrow: Right 21">
            <a:extLst>
              <a:ext uri="{FF2B5EF4-FFF2-40B4-BE49-F238E27FC236}">
                <a16:creationId xmlns:a16="http://schemas.microsoft.com/office/drawing/2014/main" id="{2EF5EF5F-5DBC-1C43-E84B-FFBC12D3A99A}"/>
              </a:ext>
            </a:extLst>
          </p:cNvPr>
          <p:cNvSpPr/>
          <p:nvPr/>
        </p:nvSpPr>
        <p:spPr>
          <a:xfrm rot="5400000">
            <a:off x="2508004" y="5387999"/>
            <a:ext cx="633843"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4" name="Arrow: Right 23">
            <a:extLst>
              <a:ext uri="{FF2B5EF4-FFF2-40B4-BE49-F238E27FC236}">
                <a16:creationId xmlns:a16="http://schemas.microsoft.com/office/drawing/2014/main" id="{82A78E61-7BD5-C805-7B78-2203DE71FFA2}"/>
              </a:ext>
            </a:extLst>
          </p:cNvPr>
          <p:cNvSpPr/>
          <p:nvPr/>
        </p:nvSpPr>
        <p:spPr>
          <a:xfrm rot="16200000">
            <a:off x="8560986" y="3851958"/>
            <a:ext cx="616208" cy="20911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5" name="Arrow: Right 24">
            <a:extLst>
              <a:ext uri="{FF2B5EF4-FFF2-40B4-BE49-F238E27FC236}">
                <a16:creationId xmlns:a16="http://schemas.microsoft.com/office/drawing/2014/main" id="{47E17201-4F7F-F1DE-08CE-02C9C8973C0E}"/>
              </a:ext>
            </a:extLst>
          </p:cNvPr>
          <p:cNvSpPr/>
          <p:nvPr/>
        </p:nvSpPr>
        <p:spPr>
          <a:xfrm rot="16200000">
            <a:off x="8577647" y="5363266"/>
            <a:ext cx="634248"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738F7EC5-6F2D-0F32-ED47-DE8C7B572CF0}"/>
              </a:ext>
            </a:extLst>
          </p:cNvPr>
          <p:cNvSpPr txBox="1"/>
          <p:nvPr/>
        </p:nvSpPr>
        <p:spPr>
          <a:xfrm>
            <a:off x="196645" y="97456"/>
            <a:ext cx="11798710" cy="400110"/>
          </a:xfrm>
          <a:prstGeom prst="rect">
            <a:avLst/>
          </a:prstGeom>
          <a:noFill/>
        </p:spPr>
        <p:txBody>
          <a:bodyPr wrap="square" rtlCol="0">
            <a:spAutoFit/>
          </a:bodyPr>
          <a:lstStyle/>
          <a:p>
            <a:r>
              <a:rPr lang="en-US" sz="2000" b="1" dirty="0"/>
              <a:t>			</a:t>
            </a:r>
            <a:r>
              <a:rPr lang="en-US" sz="2000" b="1" dirty="0">
                <a:solidFill>
                  <a:schemeClr val="bg2">
                    <a:lumMod val="75000"/>
                  </a:schemeClr>
                </a:solidFill>
              </a:rPr>
              <a:t>3.  METHODOLOGY FOR OPTIMIZED SUGGESTIONS</a:t>
            </a:r>
          </a:p>
        </p:txBody>
      </p:sp>
      <p:sp>
        <p:nvSpPr>
          <p:cNvPr id="2" name="TextBox 1">
            <a:extLst>
              <a:ext uri="{FF2B5EF4-FFF2-40B4-BE49-F238E27FC236}">
                <a16:creationId xmlns:a16="http://schemas.microsoft.com/office/drawing/2014/main" id="{4C5D98F7-09D0-612B-377D-42925F7CB3F1}"/>
              </a:ext>
            </a:extLst>
          </p:cNvPr>
          <p:cNvSpPr txBox="1"/>
          <p:nvPr/>
        </p:nvSpPr>
        <p:spPr>
          <a:xfrm>
            <a:off x="196645" y="572624"/>
            <a:ext cx="11995355" cy="369332"/>
          </a:xfrm>
          <a:prstGeom prst="rect">
            <a:avLst/>
          </a:prstGeom>
          <a:noFill/>
        </p:spPr>
        <p:txBody>
          <a:bodyPr wrap="square" rtlCol="0">
            <a:spAutoFit/>
          </a:bodyPr>
          <a:lstStyle/>
          <a:p>
            <a:r>
              <a:rPr lang="en-US" b="1" dirty="0"/>
              <a:t>After training the ML models we create personalized suggestions using the below methodology to improve the sustainability.</a:t>
            </a:r>
            <a:endParaRPr lang="en-IN" b="1" dirty="0"/>
          </a:p>
        </p:txBody>
      </p:sp>
    </p:spTree>
    <p:extLst>
      <p:ext uri="{BB962C8B-B14F-4D97-AF65-F5344CB8AC3E}">
        <p14:creationId xmlns:p14="http://schemas.microsoft.com/office/powerpoint/2010/main" val="383449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F543E63A-843A-0C61-9B0A-644D8007F976}"/>
              </a:ext>
            </a:extLst>
          </p:cNvPr>
          <p:cNvSpPr>
            <a:spLocks noChangeArrowheads="1"/>
          </p:cNvSpPr>
          <p:nvPr/>
        </p:nvSpPr>
        <p:spPr bwMode="auto">
          <a:xfrm>
            <a:off x="128114" y="0"/>
            <a:ext cx="11935772" cy="493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tabLst/>
            </a:pPr>
            <a:r>
              <a:rPr kumimoji="0" lang="en-US" altLang="en-US" sz="1800" b="1" i="0" u="none" strike="noStrike" cap="none" normalizeH="0" baseline="0" dirty="0">
                <a:ln>
                  <a:noFill/>
                </a:ln>
                <a:solidFill>
                  <a:schemeClr val="accent3"/>
                </a:solidFill>
                <a:effectLst/>
                <a:latin typeface="Arial" panose="020B0604020202020204" pitchFamily="34" charset="0"/>
              </a:rPr>
              <a:t>4. Model Complexity :</a:t>
            </a:r>
          </a:p>
          <a:p>
            <a:pPr marL="342900" indent="-342900" algn="just" eaLnBrk="0" fontAlgn="base" hangingPunct="0">
              <a:lnSpc>
                <a:spcPct val="150000"/>
              </a:lnSpc>
              <a:spcBef>
                <a:spcPct val="0"/>
              </a:spcBef>
              <a:spcAft>
                <a:spcPct val="0"/>
              </a:spcAft>
              <a:buFont typeface="+mj-lt"/>
              <a:buAutoNum type="arabicPeriod"/>
            </a:pPr>
            <a:r>
              <a:rPr lang="en-US" b="1" dirty="0"/>
              <a:t> Overfitting vs. Underfitting</a:t>
            </a:r>
            <a:r>
              <a:rPr lang="en-US" dirty="0"/>
              <a:t>: Decision Tree tends to overfit with perfect training accuracy but lower test accuracy, while Random Forest mitigates overfitting by averaging multiple trees, achieving better generalization.</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indent="-342900" algn="just" eaLnBrk="0" fontAlgn="base" hangingPunct="0">
              <a:lnSpc>
                <a:spcPct val="150000"/>
              </a:lnSpc>
              <a:spcBef>
                <a:spcPct val="0"/>
              </a:spcBef>
              <a:spcAft>
                <a:spcPct val="0"/>
              </a:spcAft>
              <a:buFont typeface="+mj-lt"/>
              <a:buAutoNum type="arabicPeriod"/>
            </a:pPr>
            <a:r>
              <a:rPr lang="en-US" b="1" dirty="0"/>
              <a:t>Computational Complexity</a:t>
            </a:r>
            <a:r>
              <a:rPr lang="en-US" dirty="0"/>
              <a:t>: Logistic Regression is computationally efficient and quick to train, whereas Random Forest and SVC require more time and resources due to their complexity.</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Rule-Based System:</a:t>
            </a:r>
            <a:r>
              <a:rPr lang="en-US" altLang="en-US" dirty="0"/>
              <a:t> </a:t>
            </a:r>
            <a:r>
              <a:rPr kumimoji="0" lang="en-US" altLang="en-US" sz="1800" b="0" i="0" u="none" strike="noStrike" cap="none" normalizeH="0" baseline="0" dirty="0">
                <a:ln>
                  <a:noFill/>
                </a:ln>
                <a:solidFill>
                  <a:schemeClr val="tx1"/>
                </a:solidFill>
                <a:effectLst/>
              </a:rPr>
              <a:t>Static conditions and rules increase complexity with more rules and specific conditions, requiring ongoing updates.</a:t>
            </a: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 AI Model Integration:</a:t>
            </a:r>
            <a:r>
              <a:rPr lang="en-US" altLang="en-US" dirty="0"/>
              <a:t> </a:t>
            </a:r>
            <a:r>
              <a:rPr kumimoji="0" lang="en-US" altLang="en-US" sz="1800" b="0" i="0" u="none" strike="noStrike" cap="none" normalizeH="0" baseline="0" dirty="0">
                <a:ln>
                  <a:noFill/>
                </a:ln>
                <a:solidFill>
                  <a:schemeClr val="tx1"/>
                </a:solidFill>
                <a:effectLst/>
              </a:rPr>
              <a:t>Google </a:t>
            </a:r>
            <a:r>
              <a:rPr kumimoji="0" lang="en-US" altLang="en-US" sz="1800" b="0" i="0" u="none" strike="noStrike" cap="none" normalizeH="0" baseline="0" dirty="0" err="1">
                <a:ln>
                  <a:noFill/>
                </a:ln>
                <a:solidFill>
                  <a:schemeClr val="tx1"/>
                </a:solidFill>
                <a:effectLst/>
              </a:rPr>
              <a:t>PaLM</a:t>
            </a:r>
            <a:r>
              <a:rPr kumimoji="0" lang="en-US" altLang="en-US" sz="1800" b="0" i="0" u="none" strike="noStrike" cap="none" normalizeH="0" baseline="0" dirty="0">
                <a:ln>
                  <a:noFill/>
                </a:ln>
                <a:solidFill>
                  <a:schemeClr val="tx1"/>
                </a:solidFill>
                <a:effectLst/>
              </a:rPr>
              <a:t> handles complex predictions and adaptations, involving data preprocessing and continuous model retraining.</a:t>
            </a:r>
            <a:endParaRPr lang="en-US" altLang="en-US" dirty="0"/>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err="1">
                <a:ln>
                  <a:noFill/>
                </a:ln>
                <a:solidFill>
                  <a:schemeClr val="tx1"/>
                </a:solidFill>
                <a:effectLst/>
              </a:rPr>
              <a:t>LangChain</a:t>
            </a:r>
            <a:r>
              <a:rPr kumimoji="0" lang="en-US" altLang="en-US" sz="1800" b="1" i="0" u="none" strike="noStrike" cap="none" normalizeH="0" baseline="0" dirty="0">
                <a:ln>
                  <a:noFill/>
                </a:ln>
                <a:solidFill>
                  <a:schemeClr val="tx1"/>
                </a:solidFill>
                <a:effectLst/>
              </a:rPr>
              <a:t> Layer:</a:t>
            </a:r>
            <a:r>
              <a:rPr lang="en-US" altLang="en-US" dirty="0"/>
              <a:t> </a:t>
            </a:r>
            <a:r>
              <a:rPr kumimoji="0" lang="en-US" altLang="en-US" sz="1800" b="0" i="0" u="none" strike="noStrike" cap="none" normalizeH="0" baseline="0" dirty="0">
                <a:ln>
                  <a:noFill/>
                </a:ln>
                <a:solidFill>
                  <a:schemeClr val="tx1"/>
                </a:solidFill>
                <a:effectLst/>
              </a:rPr>
              <a:t>Manages natural language queries and optimizes responses, adding complexity in interaction managemen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6DF86E07-66C6-33C4-687E-8C5338042B16}"/>
              </a:ext>
            </a:extLst>
          </p:cNvPr>
          <p:cNvSpPr txBox="1"/>
          <p:nvPr/>
        </p:nvSpPr>
        <p:spPr>
          <a:xfrm>
            <a:off x="128114" y="4520070"/>
            <a:ext cx="11935772" cy="2492990"/>
          </a:xfrm>
          <a:prstGeom prst="rect">
            <a:avLst/>
          </a:prstGeom>
          <a:noFill/>
        </p:spPr>
        <p:txBody>
          <a:bodyPr wrap="square" rtlCol="0">
            <a:spAutoFit/>
          </a:bodyPr>
          <a:lstStyle/>
          <a:p>
            <a:pPr algn="just">
              <a:lnSpc>
                <a:spcPct val="150000"/>
              </a:lnSpc>
            </a:pPr>
            <a:r>
              <a:rPr lang="en-US" sz="2000" b="1" dirty="0">
                <a:solidFill>
                  <a:srgbClr val="0070C0"/>
                </a:solidFill>
              </a:rPr>
              <a:t>5. Next Steps for Maturing the Model</a:t>
            </a:r>
          </a:p>
          <a:p>
            <a:pPr algn="just">
              <a:lnSpc>
                <a:spcPct val="150000"/>
              </a:lnSpc>
            </a:pPr>
            <a:r>
              <a:rPr lang="en-US" b="1" dirty="0"/>
              <a:t>1. Monitor and Retrain ML model : </a:t>
            </a:r>
            <a:r>
              <a:rPr lang="en-US" dirty="0"/>
              <a:t>Continuously monitor the ML model performance with new data and periodically retrain the model to adapt to changes in data patterns, ensuring sustained accuracy and relevance.</a:t>
            </a:r>
            <a:endParaRPr lang="en-US" b="1" dirty="0">
              <a:solidFill>
                <a:srgbClr val="0070C0"/>
              </a:solidFill>
            </a:endParaRPr>
          </a:p>
          <a:p>
            <a:pPr algn="just">
              <a:lnSpc>
                <a:spcPct val="150000"/>
              </a:lnSpc>
            </a:pPr>
            <a:r>
              <a:rPr lang="en-US" b="1" dirty="0"/>
              <a:t>2. Enhance Rule-Based Logic: </a:t>
            </a:r>
            <a:r>
              <a:rPr lang="en-US" dirty="0"/>
              <a:t>Refine and expand the rule set to improve accuracy and handle more diverse scenarios. Integrate user feedback to continuously update and optimize these rules.</a:t>
            </a:r>
          </a:p>
          <a:p>
            <a:pPr algn="just"/>
            <a:endParaRPr lang="en-IN" b="1" dirty="0">
              <a:solidFill>
                <a:srgbClr val="0070C0"/>
              </a:solidFill>
            </a:endParaRPr>
          </a:p>
        </p:txBody>
      </p:sp>
    </p:spTree>
    <p:extLst>
      <p:ext uri="{BB962C8B-B14F-4D97-AF65-F5344CB8AC3E}">
        <p14:creationId xmlns:p14="http://schemas.microsoft.com/office/powerpoint/2010/main" val="1070992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253853" y="163411"/>
            <a:ext cx="11535561" cy="811922"/>
          </a:xfrm>
        </p:spPr>
        <p:txBody>
          <a:bodyPr/>
          <a:lstStyle/>
          <a:p>
            <a:r>
              <a:rPr lang="en-US" b="1" dirty="0"/>
              <a:t>Proving this works using Evaluation metrics </a:t>
            </a:r>
            <a:br>
              <a:rPr lang="en-US" b="1" dirty="0"/>
            </a:br>
            <a:endParaRPr lang="en-US" sz="2000" i="1" dirty="0"/>
          </a:p>
        </p:txBody>
      </p:sp>
      <p:sp>
        <p:nvSpPr>
          <p:cNvPr id="2" name="Rectangle 1">
            <a:extLst>
              <a:ext uri="{FF2B5EF4-FFF2-40B4-BE49-F238E27FC236}">
                <a16:creationId xmlns:a16="http://schemas.microsoft.com/office/drawing/2014/main" id="{2BD4DFBD-F4B9-412E-C235-8599EFFDF669}"/>
              </a:ext>
            </a:extLst>
          </p:cNvPr>
          <p:cNvSpPr>
            <a:spLocks noChangeArrowheads="1"/>
          </p:cNvSpPr>
          <p:nvPr/>
        </p:nvSpPr>
        <p:spPr bwMode="auto">
          <a:xfrm>
            <a:off x="176344" y="975333"/>
            <a:ext cx="6309298" cy="563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recision</a:t>
            </a:r>
            <a:r>
              <a:rPr kumimoji="0" lang="en-US" altLang="en-US" sz="1800" b="0" i="0" u="none" strike="noStrike" cap="none" normalizeH="0" baseline="0" dirty="0">
                <a:ln>
                  <a:noFill/>
                </a:ln>
                <a:solidFill>
                  <a:schemeClr val="tx1"/>
                </a:solidFill>
                <a:effectLst/>
                <a:latin typeface="Arial" panose="020B0604020202020204" pitchFamily="34" charset="0"/>
              </a:rPr>
              <a:t>: Measures the proportion of true positives among all positive predictions. Useful for understanding how many of the predicted positive cases are actually positive.</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ecall</a:t>
            </a:r>
            <a:r>
              <a:rPr kumimoji="0" lang="en-US" altLang="en-US" sz="1800" b="0" i="0" u="none" strike="noStrike" cap="none" normalizeH="0" baseline="0" dirty="0">
                <a:ln>
                  <a:noFill/>
                </a:ln>
                <a:solidFill>
                  <a:schemeClr val="tx1"/>
                </a:solidFill>
                <a:effectLst/>
                <a:latin typeface="Arial" panose="020B0604020202020204" pitchFamily="34" charset="0"/>
              </a:rPr>
              <a:t>: Measures the proportion of true positives among all actual positives. Indicates how well the model captures all positive cas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1 Score</a:t>
            </a:r>
            <a:r>
              <a:rPr kumimoji="0" lang="en-US" altLang="en-US" sz="1800" b="0" i="0" u="none" strike="noStrike" cap="none" normalizeH="0" baseline="0" dirty="0">
                <a:ln>
                  <a:noFill/>
                </a:ln>
                <a:solidFill>
                  <a:schemeClr val="tx1"/>
                </a:solidFill>
                <a:effectLst/>
                <a:latin typeface="Arial" panose="020B0604020202020204" pitchFamily="34" charset="0"/>
              </a:rPr>
              <a:t>: Harmonic mean of precision and recall. Provides a balance between the two metrics, especially useful when dealing with imbalanced class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OC Curve</a:t>
            </a:r>
            <a:r>
              <a:rPr kumimoji="0" lang="en-US" altLang="en-US" sz="1800" b="0" i="0" u="none" strike="noStrike" cap="none" normalizeH="0" baseline="0" dirty="0">
                <a:ln>
                  <a:noFill/>
                </a:ln>
                <a:solidFill>
                  <a:schemeClr val="tx1"/>
                </a:solidFill>
                <a:effectLst/>
                <a:latin typeface="Arial" panose="020B0604020202020204" pitchFamily="34" charset="0"/>
              </a:rPr>
              <a:t>: Plots the true positive rate against the false positive rate at various threshold settings. Helps in visualizing the trade-off between sensitivity and specificit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UC (Area Under the Curve)</a:t>
            </a:r>
            <a:r>
              <a:rPr kumimoji="0" lang="en-US" altLang="en-US" sz="1800" b="0" i="0" u="none" strike="noStrike" cap="none" normalizeH="0" baseline="0" dirty="0">
                <a:ln>
                  <a:noFill/>
                </a:ln>
                <a:solidFill>
                  <a:schemeClr val="tx1"/>
                </a:solidFill>
                <a:effectLst/>
                <a:latin typeface="Arial" panose="020B0604020202020204" pitchFamily="34" charset="0"/>
              </a:rPr>
              <a:t>: Represents the overall performance of the model across all classification thresholds. A higher AUC indicates a better model performance. </a:t>
            </a:r>
          </a:p>
        </p:txBody>
      </p:sp>
      <p:pic>
        <p:nvPicPr>
          <p:cNvPr id="5" name="Picture 4">
            <a:extLst>
              <a:ext uri="{FF2B5EF4-FFF2-40B4-BE49-F238E27FC236}">
                <a16:creationId xmlns:a16="http://schemas.microsoft.com/office/drawing/2014/main" id="{0FC11C86-B7EB-0190-0351-5332260738FB}"/>
              </a:ext>
            </a:extLst>
          </p:cNvPr>
          <p:cNvPicPr>
            <a:picLocks noChangeAspect="1"/>
          </p:cNvPicPr>
          <p:nvPr/>
        </p:nvPicPr>
        <p:blipFill rotWithShape="1">
          <a:blip r:embed="rId4">
            <a:extLst>
              <a:ext uri="{28A0092B-C50C-407E-A947-70E740481C1C}">
                <a14:useLocalDpi xmlns:a14="http://schemas.microsoft.com/office/drawing/2010/main" val="0"/>
              </a:ext>
            </a:extLst>
          </a:blip>
          <a:srcRect l="1683" r="3424" b="2130"/>
          <a:stretch/>
        </p:blipFill>
        <p:spPr>
          <a:xfrm>
            <a:off x="6485642" y="1097881"/>
            <a:ext cx="5452505" cy="5199225"/>
          </a:xfrm>
          <a:prstGeom prst="rect">
            <a:avLst/>
          </a:prstGeom>
        </p:spPr>
      </p:pic>
    </p:spTree>
    <p:custDataLst>
      <p:tags r:id="rId1"/>
    </p:custDataLst>
    <p:extLst>
      <p:ext uri="{BB962C8B-B14F-4D97-AF65-F5344CB8AC3E}">
        <p14:creationId xmlns:p14="http://schemas.microsoft.com/office/powerpoint/2010/main" val="2266025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CC6EC8-A4B4-D789-7443-C3694C662B15}"/>
              </a:ext>
            </a:extLst>
          </p:cNvPr>
          <p:cNvPicPr>
            <a:picLocks noChangeAspect="1"/>
          </p:cNvPicPr>
          <p:nvPr/>
        </p:nvPicPr>
        <p:blipFill>
          <a:blip r:embed="rId2"/>
          <a:stretch>
            <a:fillRect/>
          </a:stretch>
        </p:blipFill>
        <p:spPr>
          <a:xfrm>
            <a:off x="2463092" y="98322"/>
            <a:ext cx="6498899" cy="6114818"/>
          </a:xfrm>
          <a:prstGeom prst="rect">
            <a:avLst/>
          </a:prstGeom>
        </p:spPr>
      </p:pic>
    </p:spTree>
    <p:extLst>
      <p:ext uri="{BB962C8B-B14F-4D97-AF65-F5344CB8AC3E}">
        <p14:creationId xmlns:p14="http://schemas.microsoft.com/office/powerpoint/2010/main" val="4082492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356893" y="232839"/>
            <a:ext cx="10515600" cy="811922"/>
          </a:xfrm>
        </p:spPr>
        <p:txBody>
          <a:bodyPr/>
          <a:lstStyle/>
          <a:p>
            <a:r>
              <a:rPr lang="en-US" b="1" dirty="0"/>
              <a:t>Business Value</a:t>
            </a:r>
          </a:p>
        </p:txBody>
      </p:sp>
      <p:graphicFrame>
        <p:nvGraphicFramePr>
          <p:cNvPr id="3" name="Diagram 2">
            <a:extLst>
              <a:ext uri="{FF2B5EF4-FFF2-40B4-BE49-F238E27FC236}">
                <a16:creationId xmlns:a16="http://schemas.microsoft.com/office/drawing/2014/main" id="{4D463DD2-DA2C-FF1C-9F81-5D7DF1D12C4C}"/>
              </a:ext>
            </a:extLst>
          </p:cNvPr>
          <p:cNvGraphicFramePr/>
          <p:nvPr>
            <p:extLst>
              <p:ext uri="{D42A27DB-BD31-4B8C-83A1-F6EECF244321}">
                <p14:modId xmlns:p14="http://schemas.microsoft.com/office/powerpoint/2010/main" val="3589781855"/>
              </p:ext>
            </p:extLst>
          </p:nvPr>
        </p:nvGraphicFramePr>
        <p:xfrm>
          <a:off x="184206" y="2203981"/>
          <a:ext cx="5457826" cy="32520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3A2AC13B-A727-0FD8-D4B3-8E233CFF735F}"/>
              </a:ext>
            </a:extLst>
          </p:cNvPr>
          <p:cNvGraphicFramePr/>
          <p:nvPr>
            <p:extLst>
              <p:ext uri="{D42A27DB-BD31-4B8C-83A1-F6EECF244321}">
                <p14:modId xmlns:p14="http://schemas.microsoft.com/office/powerpoint/2010/main" val="3116843178"/>
              </p:ext>
            </p:extLst>
          </p:nvPr>
        </p:nvGraphicFramePr>
        <p:xfrm>
          <a:off x="6340528" y="1919015"/>
          <a:ext cx="5457827" cy="38220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a:extLst>
              <a:ext uri="{FF2B5EF4-FFF2-40B4-BE49-F238E27FC236}">
                <a16:creationId xmlns:a16="http://schemas.microsoft.com/office/drawing/2014/main" id="{FDA73CF9-B02C-4894-C5FD-038C68DBE099}"/>
              </a:ext>
            </a:extLst>
          </p:cNvPr>
          <p:cNvSpPr/>
          <p:nvPr/>
        </p:nvSpPr>
        <p:spPr>
          <a:xfrm>
            <a:off x="1843176" y="3601040"/>
            <a:ext cx="2139885" cy="646331"/>
          </a:xfrm>
          <a:prstGeom prst="rect">
            <a:avLst/>
          </a:prstGeom>
          <a:solidFill>
            <a:schemeClr val="accent1">
              <a:lumMod val="20000"/>
              <a:lumOff val="80000"/>
            </a:schemeClr>
          </a:solidFill>
          <a:effectLst>
            <a:glow rad="63500">
              <a:schemeClr val="accent1">
                <a:satMod val="175000"/>
                <a:alpha val="40000"/>
              </a:schemeClr>
            </a:glow>
          </a:effectLst>
        </p:spPr>
        <p:txBody>
          <a:bodyPr wrap="square" lIns="91440" tIns="45720" rIns="91440" bIns="45720">
            <a:spAutoFit/>
          </a:bodyPr>
          <a:lstStyle/>
          <a:p>
            <a:pPr algn="ctr"/>
            <a:r>
              <a:rPr lang="en-US" sz="3600" dirty="0">
                <a:ln w="0">
                  <a:solidFill>
                    <a:srgbClr val="002060"/>
                  </a:solidFill>
                </a:ln>
                <a:solidFill>
                  <a:schemeClr val="tx2">
                    <a:lumMod val="50000"/>
                  </a:schemeClr>
                </a:solidFill>
                <a:effectLst>
                  <a:outerShdw blurRad="38100" dist="19050" dir="2700000" algn="tl" rotWithShape="0">
                    <a:schemeClr val="dk1">
                      <a:alpha val="40000"/>
                    </a:schemeClr>
                  </a:outerShdw>
                </a:effectLst>
              </a:rPr>
              <a:t>Values</a:t>
            </a:r>
            <a:endParaRPr lang="en-US" sz="3600" b="0" cap="none" spc="0" dirty="0">
              <a:ln w="0">
                <a:solidFill>
                  <a:srgbClr val="002060"/>
                </a:solidFill>
              </a:ln>
              <a:solidFill>
                <a:schemeClr val="tx2">
                  <a:lumMod val="50000"/>
                </a:schemeClr>
              </a:solidFill>
              <a:effectLst>
                <a:outerShdw blurRad="38100" dist="19050" dir="2700000" algn="tl" rotWithShape="0">
                  <a:schemeClr val="dk1">
                    <a:alpha val="40000"/>
                  </a:schemeClr>
                </a:outerShdw>
              </a:effectLst>
            </a:endParaRPr>
          </a:p>
        </p:txBody>
      </p:sp>
    </p:spTree>
    <p:custDataLst>
      <p:tags r:id="rId1"/>
    </p:custDataLst>
    <p:extLst>
      <p:ext uri="{BB962C8B-B14F-4D97-AF65-F5344CB8AC3E}">
        <p14:creationId xmlns:p14="http://schemas.microsoft.com/office/powerpoint/2010/main" val="105272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3</TotalTime>
  <Words>1260</Words>
  <Application>Microsoft Office PowerPoint</Application>
  <PresentationFormat>Widescreen</PresentationFormat>
  <Paragraphs>162</Paragraphs>
  <Slides>1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ATT Aleck Sans</vt:lpstr>
      <vt:lpstr>Calibri</vt:lpstr>
      <vt:lpstr>Graphik</vt:lpstr>
      <vt:lpstr>2021 BAA</vt:lpstr>
      <vt:lpstr>think-cell Slide</vt:lpstr>
      <vt:lpstr>All India Women Hackathon</vt:lpstr>
      <vt:lpstr>Executive Summary</vt:lpstr>
      <vt:lpstr>Outcome and Methodology</vt:lpstr>
      <vt:lpstr>Outcome and Methodology</vt:lpstr>
      <vt:lpstr>PowerPoint Presentation</vt:lpstr>
      <vt:lpstr>PowerPoint Presentation</vt:lpstr>
      <vt:lpstr>Proving this works using Evaluation metrics  </vt:lpstr>
      <vt:lpstr>PowerPoint Presentation</vt:lpstr>
      <vt:lpstr>Business Value</vt:lpstr>
      <vt:lpstr>Deployment Plan and Integration</vt:lpstr>
      <vt:lpstr>Recommendations and Next Steps </vt:lpstr>
      <vt:lpstr>Appendix: Key analy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SRUJANA MADIRAJU - 122126526 - MITMPL</cp:lastModifiedBy>
  <cp:revision>8</cp:revision>
  <dcterms:created xsi:type="dcterms:W3CDTF">2022-08-08T13:37:03Z</dcterms:created>
  <dcterms:modified xsi:type="dcterms:W3CDTF">2024-08-05T03:4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